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4.xml" ContentType="application/vnd.openxmlformats-officedocument.them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heme/theme5.xml" ContentType="application/vnd.openxmlformats-officedocument.them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notesSlides/notesSlide1.xml" ContentType="application/vnd.openxmlformats-officedocument.presentationml.notesSlide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notesSlides/notesSlide2.xml" ContentType="application/vnd.openxmlformats-officedocument.presentationml.notesSlide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notesSlides/notesSlide3.xml" ContentType="application/vnd.openxmlformats-officedocument.presentationml.notesSlide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notesSlides/notesSlide4.xml" ContentType="application/vnd.openxmlformats-officedocument.presentationml.notesSlid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notesSlides/notesSlide5.xml" ContentType="application/vnd.openxmlformats-officedocument.presentationml.notesSlide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notesSlides/notesSlide6.xml" ContentType="application/vnd.openxmlformats-officedocument.presentationml.notesSlide+xml"/>
  <Override PartName="/ppt/tags/tag125.xml" ContentType="application/vnd.openxmlformats-officedocument.presentationml.tags+xml"/>
  <Override PartName="/ppt/notesSlides/notesSlide7.xml" ContentType="application/vnd.openxmlformats-officedocument.presentationml.notesSlide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8.xml" ContentType="application/vnd.openxmlformats-officedocument.presentationml.notesSlide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notesSlides/notesSlide9.xml" ContentType="application/vnd.openxmlformats-officedocument.presentationml.notesSlide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notesSlides/notesSlide10.xml" ContentType="application/vnd.openxmlformats-officedocument.presentationml.notesSlide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notesSlides/notesSlide11.xml" ContentType="application/vnd.openxmlformats-officedocument.presentationml.notesSlide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notesSlides/notesSlide12.xml" ContentType="application/vnd.openxmlformats-officedocument.presentationml.notesSlide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notesSlides/notesSlide13.xml" ContentType="application/vnd.openxmlformats-officedocument.presentationml.notesSlide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notesSlides/notesSlide14.xml" ContentType="application/vnd.openxmlformats-officedocument.presentationml.notesSlide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notesSlides/notesSlide15.xml" ContentType="application/vnd.openxmlformats-officedocument.presentationml.notesSlid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7" r:id="rId2"/>
    <p:sldMasterId id="2147483692" r:id="rId3"/>
    <p:sldMasterId id="2147483828" r:id="rId4"/>
  </p:sldMasterIdLst>
  <p:notesMasterIdLst>
    <p:notesMasterId r:id="rId25"/>
  </p:notesMasterIdLst>
  <p:sldIdLst>
    <p:sldId id="285" r:id="rId5"/>
    <p:sldId id="1612" r:id="rId6"/>
    <p:sldId id="1609" r:id="rId7"/>
    <p:sldId id="1621" r:id="rId8"/>
    <p:sldId id="1611" r:id="rId9"/>
    <p:sldId id="1620" r:id="rId10"/>
    <p:sldId id="1622" r:id="rId11"/>
    <p:sldId id="1535" r:id="rId12"/>
    <p:sldId id="1583" r:id="rId13"/>
    <p:sldId id="1614" r:id="rId14"/>
    <p:sldId id="1584" r:id="rId15"/>
    <p:sldId id="1596" r:id="rId16"/>
    <p:sldId id="1615" r:id="rId17"/>
    <p:sldId id="1613" r:id="rId18"/>
    <p:sldId id="1616" r:id="rId19"/>
    <p:sldId id="1617" r:id="rId20"/>
    <p:sldId id="1618" r:id="rId21"/>
    <p:sldId id="1600" r:id="rId22"/>
    <p:sldId id="1619" r:id="rId23"/>
    <p:sldId id="1599" r:id="rId24"/>
  </p:sldIdLst>
  <p:sldSz cx="12192000" cy="6858000"/>
  <p:notesSz cx="6858000" cy="9144000"/>
  <p:custDataLst>
    <p:tags r:id="rId26"/>
  </p:custData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842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abiana Maurano" initials="FM" lastIdx="1" clrIdx="0">
    <p:extLst>
      <p:ext uri="{19B8F6BF-5375-455C-9EA6-DF929625EA0E}">
        <p15:presenceInfo xmlns:p15="http://schemas.microsoft.com/office/powerpoint/2012/main" userId="S::fabiana.maurano@nexaresources.com::df31aa50-d35c-452a-bd8d-9381dbd61cd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4C8B"/>
    <a:srgbClr val="0D5592"/>
    <a:srgbClr val="595959"/>
    <a:srgbClr val="3C3C3C"/>
    <a:srgbClr val="FF5000"/>
    <a:srgbClr val="000000"/>
    <a:srgbClr val="CCE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678" autoAdjust="0"/>
    <p:restoredTop sz="95231" autoAdjust="0"/>
  </p:normalViewPr>
  <p:slideViewPr>
    <p:cSldViewPr snapToGrid="0" showGuides="1">
      <p:cViewPr varScale="1">
        <p:scale>
          <a:sx n="68" d="100"/>
          <a:sy n="68" d="100"/>
        </p:scale>
        <p:origin x="666" y="48"/>
      </p:cViewPr>
      <p:guideLst>
        <p:guide orient="horz" pos="1842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30" d="100"/>
        <a:sy n="13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D9C56B-6580-4FAC-8A36-D19591B719D3}" type="datetimeFigureOut">
              <a:rPr lang="pt-BR" smtClean="0"/>
              <a:t>05/08/2021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7C0B78-1A17-4AFB-80C0-882C44F5075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831295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7DBD3EF-537C-4890-AD07-FD038BB23865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621069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baseline="0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FEE1EA-1BCC-41F3-9459-548F98554F2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158672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2018 </a:t>
            </a:r>
          </a:p>
          <a:p>
            <a:r>
              <a:rPr lang="pt-BR" dirty="0"/>
              <a:t>EBITDA 604,8</a:t>
            </a:r>
          </a:p>
          <a:p>
            <a:r>
              <a:rPr lang="pt-BR" dirty="0"/>
              <a:t>Margem 24,3</a:t>
            </a:r>
          </a:p>
          <a:p>
            <a:r>
              <a:rPr lang="pt-BR" dirty="0" err="1"/>
              <a:t>Reven</a:t>
            </a:r>
            <a:r>
              <a:rPr lang="pt-BR" baseline="0" dirty="0" err="1"/>
              <a:t>ue</a:t>
            </a:r>
            <a:r>
              <a:rPr lang="pt-BR" baseline="0" dirty="0"/>
              <a:t> 2491</a:t>
            </a:r>
          </a:p>
          <a:p>
            <a:endParaRPr lang="pt-BR" baseline="0" dirty="0"/>
          </a:p>
          <a:p>
            <a:r>
              <a:rPr lang="pt-BR" baseline="0" dirty="0"/>
              <a:t>Alavancagem ,5</a:t>
            </a:r>
          </a:p>
          <a:p>
            <a:r>
              <a:rPr lang="pt-BR" baseline="0" dirty="0"/>
              <a:t>Net </a:t>
            </a:r>
            <a:r>
              <a:rPr lang="pt-BR" baseline="0" dirty="0" err="1"/>
              <a:t>debt</a:t>
            </a:r>
            <a:r>
              <a:rPr lang="pt-BR" baseline="0" dirty="0"/>
              <a:t> 303</a:t>
            </a:r>
          </a:p>
          <a:p>
            <a:endParaRPr lang="pt-BR" baseline="0" dirty="0"/>
          </a:p>
          <a:p>
            <a:r>
              <a:rPr lang="pt-BR" baseline="0" dirty="0"/>
              <a:t>FCF -13</a:t>
            </a:r>
          </a:p>
          <a:p>
            <a:endParaRPr lang="pt-BR" baseline="0" dirty="0"/>
          </a:p>
          <a:p>
            <a:r>
              <a:rPr lang="pt-BR" baseline="0" dirty="0"/>
              <a:t>2019 net </a:t>
            </a:r>
            <a:r>
              <a:rPr lang="pt-BR" baseline="0" dirty="0" err="1"/>
              <a:t>debt</a:t>
            </a:r>
            <a:r>
              <a:rPr lang="pt-BR" baseline="0" dirty="0"/>
              <a:t> 788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FEE1EA-1BCC-41F3-9459-548F98554F2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556095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baseline="0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FEE1EA-1BCC-41F3-9459-548F98554F2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437556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baseline="0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FEE1EA-1BCC-41F3-9459-548F98554F2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580136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baseline="0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FEE1EA-1BCC-41F3-9459-548F98554F2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068608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baseline="0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FEE1EA-1BCC-41F3-9459-548F98554F2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990629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baseline="0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FEE1EA-1BCC-41F3-9459-548F98554F2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321782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2018 </a:t>
            </a:r>
          </a:p>
          <a:p>
            <a:r>
              <a:rPr lang="pt-BR" dirty="0"/>
              <a:t>EBITDA 604,8</a:t>
            </a:r>
          </a:p>
          <a:p>
            <a:r>
              <a:rPr lang="pt-BR" dirty="0"/>
              <a:t>Margem 24,3</a:t>
            </a:r>
          </a:p>
          <a:p>
            <a:r>
              <a:rPr lang="pt-BR" dirty="0" err="1"/>
              <a:t>Reven</a:t>
            </a:r>
            <a:r>
              <a:rPr lang="pt-BR" baseline="0" dirty="0" err="1"/>
              <a:t>ue</a:t>
            </a:r>
            <a:r>
              <a:rPr lang="pt-BR" baseline="0" dirty="0"/>
              <a:t> 2491</a:t>
            </a:r>
          </a:p>
          <a:p>
            <a:endParaRPr lang="pt-BR" baseline="0" dirty="0"/>
          </a:p>
          <a:p>
            <a:r>
              <a:rPr lang="pt-BR" baseline="0" dirty="0"/>
              <a:t>Alavancagem ,5</a:t>
            </a:r>
          </a:p>
          <a:p>
            <a:r>
              <a:rPr lang="pt-BR" baseline="0" dirty="0"/>
              <a:t>Net </a:t>
            </a:r>
            <a:r>
              <a:rPr lang="pt-BR" baseline="0" dirty="0" err="1"/>
              <a:t>debt</a:t>
            </a:r>
            <a:r>
              <a:rPr lang="pt-BR" baseline="0" dirty="0"/>
              <a:t> 303</a:t>
            </a:r>
          </a:p>
          <a:p>
            <a:endParaRPr lang="pt-BR" baseline="0" dirty="0"/>
          </a:p>
          <a:p>
            <a:r>
              <a:rPr lang="pt-BR" baseline="0" dirty="0"/>
              <a:t>FCF -13</a:t>
            </a:r>
          </a:p>
          <a:p>
            <a:endParaRPr lang="pt-BR" baseline="0" dirty="0"/>
          </a:p>
          <a:p>
            <a:r>
              <a:rPr lang="pt-BR" baseline="0" dirty="0"/>
              <a:t>2019 net </a:t>
            </a:r>
            <a:r>
              <a:rPr lang="pt-BR" baseline="0" dirty="0" err="1"/>
              <a:t>debt</a:t>
            </a:r>
            <a:r>
              <a:rPr lang="pt-BR" baseline="0" dirty="0"/>
              <a:t> 788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FEE1EA-1BCC-41F3-9459-548F98554F2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70602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2018 </a:t>
            </a:r>
          </a:p>
          <a:p>
            <a:r>
              <a:rPr lang="pt-BR" dirty="0"/>
              <a:t>EBITDA 604,8</a:t>
            </a:r>
          </a:p>
          <a:p>
            <a:r>
              <a:rPr lang="pt-BR" dirty="0"/>
              <a:t>Margem 24,3</a:t>
            </a:r>
          </a:p>
          <a:p>
            <a:r>
              <a:rPr lang="pt-BR" dirty="0" err="1"/>
              <a:t>Reven</a:t>
            </a:r>
            <a:r>
              <a:rPr lang="pt-BR" baseline="0" dirty="0" err="1"/>
              <a:t>ue</a:t>
            </a:r>
            <a:r>
              <a:rPr lang="pt-BR" baseline="0" dirty="0"/>
              <a:t> 2491</a:t>
            </a:r>
          </a:p>
          <a:p>
            <a:endParaRPr lang="pt-BR" baseline="0" dirty="0"/>
          </a:p>
          <a:p>
            <a:r>
              <a:rPr lang="pt-BR" baseline="0" dirty="0"/>
              <a:t>Alavancagem ,5</a:t>
            </a:r>
          </a:p>
          <a:p>
            <a:r>
              <a:rPr lang="pt-BR" baseline="0" dirty="0"/>
              <a:t>Net </a:t>
            </a:r>
            <a:r>
              <a:rPr lang="pt-BR" baseline="0" dirty="0" err="1"/>
              <a:t>debt</a:t>
            </a:r>
            <a:r>
              <a:rPr lang="pt-BR" baseline="0" dirty="0"/>
              <a:t> 303</a:t>
            </a:r>
          </a:p>
          <a:p>
            <a:endParaRPr lang="pt-BR" baseline="0" dirty="0"/>
          </a:p>
          <a:p>
            <a:r>
              <a:rPr lang="pt-BR" baseline="0" dirty="0"/>
              <a:t>FCF -13</a:t>
            </a:r>
          </a:p>
          <a:p>
            <a:endParaRPr lang="pt-BR" baseline="0" dirty="0"/>
          </a:p>
          <a:p>
            <a:r>
              <a:rPr lang="pt-BR" baseline="0" dirty="0"/>
              <a:t>2019 net </a:t>
            </a:r>
            <a:r>
              <a:rPr lang="pt-BR" baseline="0" dirty="0" err="1"/>
              <a:t>debt</a:t>
            </a:r>
            <a:r>
              <a:rPr lang="pt-BR" baseline="0" dirty="0"/>
              <a:t> 788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FEE1EA-1BCC-41F3-9459-548F98554F2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16047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2018 </a:t>
            </a:r>
          </a:p>
          <a:p>
            <a:r>
              <a:rPr lang="pt-BR" dirty="0"/>
              <a:t>EBITDA 604,8</a:t>
            </a:r>
          </a:p>
          <a:p>
            <a:r>
              <a:rPr lang="pt-BR" dirty="0"/>
              <a:t>Margem 24,3</a:t>
            </a:r>
          </a:p>
          <a:p>
            <a:r>
              <a:rPr lang="pt-BR" dirty="0" err="1"/>
              <a:t>Reven</a:t>
            </a:r>
            <a:r>
              <a:rPr lang="pt-BR" baseline="0" dirty="0" err="1"/>
              <a:t>ue</a:t>
            </a:r>
            <a:r>
              <a:rPr lang="pt-BR" baseline="0" dirty="0"/>
              <a:t> 2491</a:t>
            </a:r>
          </a:p>
          <a:p>
            <a:endParaRPr lang="pt-BR" baseline="0" dirty="0"/>
          </a:p>
          <a:p>
            <a:r>
              <a:rPr lang="pt-BR" baseline="0" dirty="0"/>
              <a:t>Alavancagem ,5</a:t>
            </a:r>
          </a:p>
          <a:p>
            <a:r>
              <a:rPr lang="pt-BR" baseline="0" dirty="0"/>
              <a:t>Net </a:t>
            </a:r>
            <a:r>
              <a:rPr lang="pt-BR" baseline="0" dirty="0" err="1"/>
              <a:t>debt</a:t>
            </a:r>
            <a:r>
              <a:rPr lang="pt-BR" baseline="0" dirty="0"/>
              <a:t> 303</a:t>
            </a:r>
          </a:p>
          <a:p>
            <a:endParaRPr lang="pt-BR" baseline="0" dirty="0"/>
          </a:p>
          <a:p>
            <a:r>
              <a:rPr lang="pt-BR" baseline="0" dirty="0"/>
              <a:t>FCF -13</a:t>
            </a:r>
          </a:p>
          <a:p>
            <a:endParaRPr lang="pt-BR" baseline="0" dirty="0"/>
          </a:p>
          <a:p>
            <a:r>
              <a:rPr lang="pt-BR" baseline="0" dirty="0"/>
              <a:t>2019 net </a:t>
            </a:r>
            <a:r>
              <a:rPr lang="pt-BR" baseline="0" dirty="0" err="1"/>
              <a:t>debt</a:t>
            </a:r>
            <a:r>
              <a:rPr lang="pt-BR" baseline="0" dirty="0"/>
              <a:t> 788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FEE1EA-1BCC-41F3-9459-548F98554F2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68546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2018 </a:t>
            </a:r>
          </a:p>
          <a:p>
            <a:r>
              <a:rPr lang="pt-BR" dirty="0"/>
              <a:t>EBITDA 604,8</a:t>
            </a:r>
          </a:p>
          <a:p>
            <a:r>
              <a:rPr lang="pt-BR" dirty="0"/>
              <a:t>Margem 24,3</a:t>
            </a:r>
          </a:p>
          <a:p>
            <a:r>
              <a:rPr lang="pt-BR" dirty="0" err="1"/>
              <a:t>Reven</a:t>
            </a:r>
            <a:r>
              <a:rPr lang="pt-BR" baseline="0" dirty="0" err="1"/>
              <a:t>ue</a:t>
            </a:r>
            <a:r>
              <a:rPr lang="pt-BR" baseline="0" dirty="0"/>
              <a:t> 2491</a:t>
            </a:r>
          </a:p>
          <a:p>
            <a:endParaRPr lang="pt-BR" baseline="0" dirty="0"/>
          </a:p>
          <a:p>
            <a:r>
              <a:rPr lang="pt-BR" baseline="0" dirty="0"/>
              <a:t>Alavancagem ,5</a:t>
            </a:r>
          </a:p>
          <a:p>
            <a:r>
              <a:rPr lang="pt-BR" baseline="0" dirty="0"/>
              <a:t>Net </a:t>
            </a:r>
            <a:r>
              <a:rPr lang="pt-BR" baseline="0" dirty="0" err="1"/>
              <a:t>debt</a:t>
            </a:r>
            <a:r>
              <a:rPr lang="pt-BR" baseline="0" dirty="0"/>
              <a:t> 303</a:t>
            </a:r>
          </a:p>
          <a:p>
            <a:endParaRPr lang="pt-BR" baseline="0" dirty="0"/>
          </a:p>
          <a:p>
            <a:r>
              <a:rPr lang="pt-BR" baseline="0" dirty="0"/>
              <a:t>FCF -13</a:t>
            </a:r>
          </a:p>
          <a:p>
            <a:endParaRPr lang="pt-BR" baseline="0" dirty="0"/>
          </a:p>
          <a:p>
            <a:r>
              <a:rPr lang="pt-BR" baseline="0" dirty="0"/>
              <a:t>2019 net </a:t>
            </a:r>
            <a:r>
              <a:rPr lang="pt-BR" baseline="0" dirty="0" err="1"/>
              <a:t>debt</a:t>
            </a:r>
            <a:r>
              <a:rPr lang="pt-BR" baseline="0" dirty="0"/>
              <a:t> 788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FEE1EA-1BCC-41F3-9459-548F98554F2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25963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2018 </a:t>
            </a:r>
          </a:p>
          <a:p>
            <a:r>
              <a:rPr lang="pt-BR" dirty="0"/>
              <a:t>EBITDA 604,8</a:t>
            </a:r>
          </a:p>
          <a:p>
            <a:r>
              <a:rPr lang="pt-BR" dirty="0"/>
              <a:t>Margem 24,3</a:t>
            </a:r>
          </a:p>
          <a:p>
            <a:r>
              <a:rPr lang="pt-BR" dirty="0" err="1"/>
              <a:t>Reven</a:t>
            </a:r>
            <a:r>
              <a:rPr lang="pt-BR" baseline="0" dirty="0" err="1"/>
              <a:t>ue</a:t>
            </a:r>
            <a:r>
              <a:rPr lang="pt-BR" baseline="0" dirty="0"/>
              <a:t> 2491</a:t>
            </a:r>
          </a:p>
          <a:p>
            <a:endParaRPr lang="pt-BR" baseline="0" dirty="0"/>
          </a:p>
          <a:p>
            <a:r>
              <a:rPr lang="pt-BR" baseline="0" dirty="0"/>
              <a:t>Alavancagem ,5</a:t>
            </a:r>
          </a:p>
          <a:p>
            <a:r>
              <a:rPr lang="pt-BR" baseline="0" dirty="0"/>
              <a:t>Net </a:t>
            </a:r>
            <a:r>
              <a:rPr lang="pt-BR" baseline="0" dirty="0" err="1"/>
              <a:t>debt</a:t>
            </a:r>
            <a:r>
              <a:rPr lang="pt-BR" baseline="0" dirty="0"/>
              <a:t> 303</a:t>
            </a:r>
          </a:p>
          <a:p>
            <a:endParaRPr lang="pt-BR" baseline="0" dirty="0"/>
          </a:p>
          <a:p>
            <a:r>
              <a:rPr lang="pt-BR" baseline="0" dirty="0"/>
              <a:t>FCF -13</a:t>
            </a:r>
          </a:p>
          <a:p>
            <a:endParaRPr lang="pt-BR" baseline="0" dirty="0"/>
          </a:p>
          <a:p>
            <a:r>
              <a:rPr lang="pt-BR" baseline="0" dirty="0"/>
              <a:t>2019 net </a:t>
            </a:r>
            <a:r>
              <a:rPr lang="pt-BR" baseline="0" dirty="0" err="1"/>
              <a:t>debt</a:t>
            </a:r>
            <a:r>
              <a:rPr lang="pt-BR" baseline="0" dirty="0"/>
              <a:t> 788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FEE1EA-1BCC-41F3-9459-548F98554F2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826288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7DBD3EF-537C-4890-AD07-FD038BB23865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52522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2018 </a:t>
            </a:r>
          </a:p>
          <a:p>
            <a:r>
              <a:rPr lang="pt-BR" dirty="0"/>
              <a:t>EBITDA 604,8</a:t>
            </a:r>
          </a:p>
          <a:p>
            <a:r>
              <a:rPr lang="pt-BR" dirty="0"/>
              <a:t>Margem 24,3</a:t>
            </a:r>
          </a:p>
          <a:p>
            <a:r>
              <a:rPr lang="pt-BR" dirty="0" err="1"/>
              <a:t>Reven</a:t>
            </a:r>
            <a:r>
              <a:rPr lang="pt-BR" baseline="0" dirty="0" err="1"/>
              <a:t>ue</a:t>
            </a:r>
            <a:r>
              <a:rPr lang="pt-BR" baseline="0" dirty="0"/>
              <a:t> 2491</a:t>
            </a:r>
          </a:p>
          <a:p>
            <a:endParaRPr lang="pt-BR" baseline="0" dirty="0"/>
          </a:p>
          <a:p>
            <a:r>
              <a:rPr lang="pt-BR" baseline="0" dirty="0"/>
              <a:t>Alavancagem ,5</a:t>
            </a:r>
          </a:p>
          <a:p>
            <a:r>
              <a:rPr lang="pt-BR" baseline="0" dirty="0"/>
              <a:t>Net </a:t>
            </a:r>
            <a:r>
              <a:rPr lang="pt-BR" baseline="0" dirty="0" err="1"/>
              <a:t>debt</a:t>
            </a:r>
            <a:r>
              <a:rPr lang="pt-BR" baseline="0" dirty="0"/>
              <a:t> 303</a:t>
            </a:r>
          </a:p>
          <a:p>
            <a:endParaRPr lang="pt-BR" baseline="0" dirty="0"/>
          </a:p>
          <a:p>
            <a:r>
              <a:rPr lang="pt-BR" baseline="0" dirty="0"/>
              <a:t>FCF -13</a:t>
            </a:r>
          </a:p>
          <a:p>
            <a:endParaRPr lang="pt-BR" baseline="0" dirty="0"/>
          </a:p>
          <a:p>
            <a:r>
              <a:rPr lang="pt-BR" baseline="0" dirty="0"/>
              <a:t>2019 net </a:t>
            </a:r>
            <a:r>
              <a:rPr lang="pt-BR" baseline="0" dirty="0" err="1"/>
              <a:t>debt</a:t>
            </a:r>
            <a:r>
              <a:rPr lang="pt-BR" baseline="0" dirty="0"/>
              <a:t> 788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FEE1EA-1BCC-41F3-9459-548F98554F2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140304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baseline="0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FEE1EA-1BCC-41F3-9459-548F98554F2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12521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NULL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9.vml"/><Relationship Id="rId6" Type="http://schemas.openxmlformats.org/officeDocument/2006/relationships/image" Target="NULL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0.vml"/><Relationship Id="rId6" Type="http://schemas.openxmlformats.org/officeDocument/2006/relationships/image" Target="NULL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11.vml"/><Relationship Id="rId6" Type="http://schemas.openxmlformats.org/officeDocument/2006/relationships/image" Target="NULL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vmlDrawing" Target="../drawings/vmlDrawing12.vml"/><Relationship Id="rId6" Type="http://schemas.openxmlformats.org/officeDocument/2006/relationships/image" Target="NULL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14.vml"/><Relationship Id="rId6" Type="http://schemas.openxmlformats.org/officeDocument/2006/relationships/image" Target="NULL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5.vml"/><Relationship Id="rId6" Type="http://schemas.openxmlformats.org/officeDocument/2006/relationships/image" Target="NULL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NULL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6.xml"/><Relationship Id="rId1" Type="http://schemas.openxmlformats.org/officeDocument/2006/relationships/vmlDrawing" Target="../drawings/vmlDrawing16.vml"/><Relationship Id="rId5" Type="http://schemas.openxmlformats.org/officeDocument/2006/relationships/image" Target="NULL"/><Relationship Id="rId4" Type="http://schemas.openxmlformats.org/officeDocument/2006/relationships/oleObject" Target="../embeddings/oleObject16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7.xml"/><Relationship Id="rId1" Type="http://schemas.openxmlformats.org/officeDocument/2006/relationships/vmlDrawing" Target="../drawings/vmlDrawing17.vml"/><Relationship Id="rId4" Type="http://schemas.openxmlformats.org/officeDocument/2006/relationships/oleObject" Target="../embeddings/oleObject1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8.xml"/><Relationship Id="rId1" Type="http://schemas.openxmlformats.org/officeDocument/2006/relationships/vmlDrawing" Target="../drawings/vmlDrawing18.vml"/><Relationship Id="rId5" Type="http://schemas.openxmlformats.org/officeDocument/2006/relationships/image" Target="NULL"/><Relationship Id="rId4" Type="http://schemas.openxmlformats.org/officeDocument/2006/relationships/oleObject" Target="../embeddings/oleObject18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9.xml"/><Relationship Id="rId1" Type="http://schemas.openxmlformats.org/officeDocument/2006/relationships/vmlDrawing" Target="../drawings/vmlDrawing19.vml"/><Relationship Id="rId5" Type="http://schemas.openxmlformats.org/officeDocument/2006/relationships/image" Target="NULL"/><Relationship Id="rId4" Type="http://schemas.openxmlformats.org/officeDocument/2006/relationships/oleObject" Target="../embeddings/oleObject19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0.vml"/><Relationship Id="rId5" Type="http://schemas.openxmlformats.org/officeDocument/2006/relationships/image" Target="NULL"/><Relationship Id="rId4" Type="http://schemas.openxmlformats.org/officeDocument/2006/relationships/oleObject" Target="../embeddings/oleObject20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image" Target="NULL"/><Relationship Id="rId4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image" Target="NULL"/><Relationship Id="rId4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NULL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4.bin"/><Relationship Id="rId5" Type="http://schemas.openxmlformats.org/officeDocument/2006/relationships/image" Target="NULL"/><Relationship Id="rId4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vmlDrawing" Target="../drawings/vmlDrawing25.vml"/><Relationship Id="rId6" Type="http://schemas.openxmlformats.org/officeDocument/2006/relationships/image" Target="NULL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2" Type="http://schemas.openxmlformats.org/officeDocument/2006/relationships/tags" Target="../tags/tag76.xml"/><Relationship Id="rId1" Type="http://schemas.openxmlformats.org/officeDocument/2006/relationships/vmlDrawing" Target="../drawings/vmlDrawing26.vml"/><Relationship Id="rId6" Type="http://schemas.openxmlformats.org/officeDocument/2006/relationships/image" Target="NULL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vmlDrawing" Target="../drawings/vmlDrawing27.vml"/><Relationship Id="rId6" Type="http://schemas.openxmlformats.org/officeDocument/2006/relationships/image" Target="NULL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2" Type="http://schemas.openxmlformats.org/officeDocument/2006/relationships/tags" Target="../tags/tag80.xml"/><Relationship Id="rId1" Type="http://schemas.openxmlformats.org/officeDocument/2006/relationships/vmlDrawing" Target="../drawings/vmlDrawing28.vml"/><Relationship Id="rId6" Type="http://schemas.openxmlformats.org/officeDocument/2006/relationships/image" Target="NULL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vmlDrawing" Target="../drawings/vmlDrawing29.vml"/><Relationship Id="rId6" Type="http://schemas.openxmlformats.org/officeDocument/2006/relationships/image" Target="NULL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2" Type="http://schemas.openxmlformats.org/officeDocument/2006/relationships/tags" Target="../tags/tag84.xml"/><Relationship Id="rId1" Type="http://schemas.openxmlformats.org/officeDocument/2006/relationships/vmlDrawing" Target="../drawings/vmlDrawing30.vml"/><Relationship Id="rId6" Type="http://schemas.openxmlformats.org/officeDocument/2006/relationships/image" Target="NULL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2" Type="http://schemas.openxmlformats.org/officeDocument/2006/relationships/tags" Target="../tags/tag86.xml"/><Relationship Id="rId1" Type="http://schemas.openxmlformats.org/officeDocument/2006/relationships/vmlDrawing" Target="../drawings/vmlDrawing31.vml"/><Relationship Id="rId6" Type="http://schemas.openxmlformats.org/officeDocument/2006/relationships/image" Target="NULL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5.vml"/><Relationship Id="rId6" Type="http://schemas.openxmlformats.org/officeDocument/2006/relationships/image" Target="NULL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vmlDrawing" Target="../drawings/vmlDrawing32.vml"/><Relationship Id="rId6" Type="http://schemas.openxmlformats.org/officeDocument/2006/relationships/image" Target="NULL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1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4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2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35.bin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6.vml"/><Relationship Id="rId6" Type="http://schemas.openxmlformats.org/officeDocument/2006/relationships/image" Target="NUL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3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4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5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6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7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8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9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7.vml"/><Relationship Id="rId6" Type="http://schemas.openxmlformats.org/officeDocument/2006/relationships/image" Target="NULL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8.vml"/><Relationship Id="rId6" Type="http://schemas.openxmlformats.org/officeDocument/2006/relationships/image" Target="NUL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52.vml"/><Relationship Id="rId4" Type="http://schemas.openxmlformats.org/officeDocument/2006/relationships/oleObject" Target="../embeddings/oleObject52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53.vml"/><Relationship Id="rId6" Type="http://schemas.openxmlformats.org/officeDocument/2006/relationships/image" Target="NULL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Agrupar 1">
            <a:extLst>
              <a:ext uri="{FF2B5EF4-FFF2-40B4-BE49-F238E27FC236}">
                <a16:creationId xmlns:a16="http://schemas.microsoft.com/office/drawing/2014/main" id="{6E44D0EB-5113-D04D-B7B9-F27D9FD7C2F6}"/>
              </a:ext>
            </a:extLst>
          </p:cNvPr>
          <p:cNvGrpSpPr/>
          <p:nvPr userDrawn="1"/>
        </p:nvGrpSpPr>
        <p:grpSpPr>
          <a:xfrm>
            <a:off x="0" y="1366"/>
            <a:ext cx="12196099" cy="6856634"/>
            <a:chOff x="0" y="1339"/>
            <a:chExt cx="9144000" cy="5140823"/>
          </a:xfrm>
        </p:grpSpPr>
        <p:sp>
          <p:nvSpPr>
            <p:cNvPr id="23" name="Forma Livre: Forma 6310">
              <a:extLst>
                <a:ext uri="{FF2B5EF4-FFF2-40B4-BE49-F238E27FC236}">
                  <a16:creationId xmlns:a16="http://schemas.microsoft.com/office/drawing/2014/main" id="{364C2E3C-D887-5444-BB47-C8F4C81EA43A}"/>
                </a:ext>
              </a:extLst>
            </p:cNvPr>
            <p:cNvSpPr/>
            <p:nvPr userDrawn="1"/>
          </p:nvSpPr>
          <p:spPr>
            <a:xfrm>
              <a:off x="0" y="1339"/>
              <a:ext cx="9144000" cy="5140823"/>
            </a:xfrm>
            <a:custGeom>
              <a:avLst/>
              <a:gdLst>
                <a:gd name="connsiteX0" fmla="*/ 0 w 18288000"/>
                <a:gd name="connsiteY0" fmla="*/ 0 h 10281645"/>
                <a:gd name="connsiteX1" fmla="*/ 18290284 w 18288000"/>
                <a:gd name="connsiteY1" fmla="*/ 0 h 10281645"/>
                <a:gd name="connsiteX2" fmla="*/ 18290284 w 18288000"/>
                <a:gd name="connsiteY2" fmla="*/ 10281645 h 10281645"/>
                <a:gd name="connsiteX3" fmla="*/ 0 w 18288000"/>
                <a:gd name="connsiteY3" fmla="*/ 10281645 h 10281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0" h="10281645">
                  <a:moveTo>
                    <a:pt x="0" y="0"/>
                  </a:moveTo>
                  <a:lnTo>
                    <a:pt x="18290284" y="0"/>
                  </a:lnTo>
                  <a:lnTo>
                    <a:pt x="18290284" y="10281645"/>
                  </a:lnTo>
                  <a:lnTo>
                    <a:pt x="0" y="10281645"/>
                  </a:lnTo>
                  <a:close/>
                </a:path>
              </a:pathLst>
            </a:custGeom>
            <a:solidFill>
              <a:srgbClr val="1E1E1E"/>
            </a:solidFill>
            <a:ln w="95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pt-BR" sz="689" dirty="0">
                <a:solidFill>
                  <a:srgbClr val="000000"/>
                </a:solidFill>
              </a:endParaRPr>
            </a:p>
          </p:txBody>
        </p:sp>
        <p:pic>
          <p:nvPicPr>
            <p:cNvPr id="24" name="Imagem 23">
              <a:extLst>
                <a:ext uri="{FF2B5EF4-FFF2-40B4-BE49-F238E27FC236}">
                  <a16:creationId xmlns:a16="http://schemas.microsoft.com/office/drawing/2014/main" id="{0B51D8F9-5713-4B4D-B671-5DF532384B3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8278355" y="4585648"/>
              <a:ext cx="865135" cy="554308"/>
            </a:xfrm>
            <a:custGeom>
              <a:avLst/>
              <a:gdLst>
                <a:gd name="connsiteX0" fmla="*/ 0 w 4769540"/>
                <a:gd name="connsiteY0" fmla="*/ 0 h 3055933"/>
                <a:gd name="connsiteX1" fmla="*/ 4772326 w 4769540"/>
                <a:gd name="connsiteY1" fmla="*/ 0 h 3055933"/>
                <a:gd name="connsiteX2" fmla="*/ 4772326 w 4769540"/>
                <a:gd name="connsiteY2" fmla="*/ 3060008 h 3055933"/>
                <a:gd name="connsiteX3" fmla="*/ 0 w 4769540"/>
                <a:gd name="connsiteY3" fmla="*/ 3060008 h 3055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9540" h="3055933">
                  <a:moveTo>
                    <a:pt x="0" y="0"/>
                  </a:moveTo>
                  <a:lnTo>
                    <a:pt x="4772326" y="0"/>
                  </a:lnTo>
                  <a:lnTo>
                    <a:pt x="4772326" y="3060008"/>
                  </a:lnTo>
                  <a:lnTo>
                    <a:pt x="0" y="3060008"/>
                  </a:lnTo>
                  <a:close/>
                </a:path>
              </a:pathLst>
            </a:custGeom>
            <a:ln/>
          </p:spPr>
        </p:pic>
        <p:grpSp>
          <p:nvGrpSpPr>
            <p:cNvPr id="25" name="Grupo 57">
              <a:extLst>
                <a:ext uri="{FF2B5EF4-FFF2-40B4-BE49-F238E27FC236}">
                  <a16:creationId xmlns:a16="http://schemas.microsoft.com/office/drawing/2014/main" id="{1312FBD9-A679-724A-AE17-DD06CE674EEB}"/>
                </a:ext>
              </a:extLst>
            </p:cNvPr>
            <p:cNvGrpSpPr/>
            <p:nvPr userDrawn="1"/>
          </p:nvGrpSpPr>
          <p:grpSpPr>
            <a:xfrm>
              <a:off x="892268" y="1615815"/>
              <a:ext cx="546994" cy="732295"/>
              <a:chOff x="0" y="1339"/>
              <a:chExt cx="929014" cy="1134932"/>
            </a:xfrm>
          </p:grpSpPr>
          <p:sp>
            <p:nvSpPr>
              <p:cNvPr id="27" name="Forma Livre: Forma 6311">
                <a:extLst>
                  <a:ext uri="{FF2B5EF4-FFF2-40B4-BE49-F238E27FC236}">
                    <a16:creationId xmlns:a16="http://schemas.microsoft.com/office/drawing/2014/main" id="{384F6E0E-49A2-3A45-B6D3-83DE7712B925}"/>
                  </a:ext>
                </a:extLst>
              </p:cNvPr>
              <p:cNvSpPr/>
              <p:nvPr/>
            </p:nvSpPr>
            <p:spPr>
              <a:xfrm>
                <a:off x="835860" y="983950"/>
                <a:ext cx="19040" cy="152321"/>
              </a:xfrm>
              <a:custGeom>
                <a:avLst/>
                <a:gdLst>
                  <a:gd name="connsiteX0" fmla="*/ 23705 w 38080"/>
                  <a:gd name="connsiteY0" fmla="*/ 0 h 304641"/>
                  <a:gd name="connsiteX1" fmla="*/ 0 w 38080"/>
                  <a:gd name="connsiteY1" fmla="*/ 21706 h 304641"/>
                  <a:gd name="connsiteX2" fmla="*/ 0 w 38080"/>
                  <a:gd name="connsiteY2" fmla="*/ 290552 h 304641"/>
                  <a:gd name="connsiteX3" fmla="*/ 23705 w 38080"/>
                  <a:gd name="connsiteY3" fmla="*/ 312257 h 304641"/>
                  <a:gd name="connsiteX4" fmla="*/ 47410 w 38080"/>
                  <a:gd name="connsiteY4" fmla="*/ 290552 h 304641"/>
                  <a:gd name="connsiteX5" fmla="*/ 47410 w 38080"/>
                  <a:gd name="connsiteY5" fmla="*/ 21706 h 304641"/>
                  <a:gd name="connsiteX6" fmla="*/ 23705 w 38080"/>
                  <a:gd name="connsiteY6" fmla="*/ 0 h 304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8080" h="304641">
                    <a:moveTo>
                      <a:pt x="23705" y="0"/>
                    </a:moveTo>
                    <a:cubicBezTo>
                      <a:pt x="10567" y="0"/>
                      <a:pt x="0" y="9710"/>
                      <a:pt x="0" y="21706"/>
                    </a:cubicBezTo>
                    <a:lnTo>
                      <a:pt x="0" y="290552"/>
                    </a:lnTo>
                    <a:cubicBezTo>
                      <a:pt x="0" y="302547"/>
                      <a:pt x="10662" y="312257"/>
                      <a:pt x="23705" y="312257"/>
                    </a:cubicBezTo>
                    <a:cubicBezTo>
                      <a:pt x="36843" y="312257"/>
                      <a:pt x="47410" y="302547"/>
                      <a:pt x="47410" y="290552"/>
                    </a:cubicBezTo>
                    <a:lnTo>
                      <a:pt x="47410" y="21706"/>
                    </a:lnTo>
                    <a:cubicBezTo>
                      <a:pt x="47410" y="9806"/>
                      <a:pt x="36747" y="0"/>
                      <a:pt x="23705" y="0"/>
                    </a:cubicBezTo>
                    <a:close/>
                  </a:path>
                </a:pathLst>
              </a:custGeom>
              <a:solidFill>
                <a:srgbClr val="FF5000"/>
              </a:solidFill>
              <a:ln w="95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pt-BR" sz="68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" name="Forma Livre: Forma 6312">
                <a:extLst>
                  <a:ext uri="{FF2B5EF4-FFF2-40B4-BE49-F238E27FC236}">
                    <a16:creationId xmlns:a16="http://schemas.microsoft.com/office/drawing/2014/main" id="{2A7D223A-C92A-9E49-ABEB-F074E04187DC}"/>
                  </a:ext>
                </a:extLst>
              </p:cNvPr>
              <p:cNvSpPr/>
              <p:nvPr/>
            </p:nvSpPr>
            <p:spPr>
              <a:xfrm>
                <a:off x="762413" y="1051161"/>
                <a:ext cx="166601" cy="19040"/>
              </a:xfrm>
              <a:custGeom>
                <a:avLst/>
                <a:gdLst>
                  <a:gd name="connsiteX0" fmla="*/ 317398 w 333201"/>
                  <a:gd name="connsiteY0" fmla="*/ 0 h 38080"/>
                  <a:gd name="connsiteX1" fmla="*/ 23705 w 333201"/>
                  <a:gd name="connsiteY1" fmla="*/ 0 h 38080"/>
                  <a:gd name="connsiteX2" fmla="*/ 0 w 333201"/>
                  <a:gd name="connsiteY2" fmla="*/ 21706 h 38080"/>
                  <a:gd name="connsiteX3" fmla="*/ 23705 w 333201"/>
                  <a:gd name="connsiteY3" fmla="*/ 43411 h 38080"/>
                  <a:gd name="connsiteX4" fmla="*/ 317398 w 333201"/>
                  <a:gd name="connsiteY4" fmla="*/ 43411 h 38080"/>
                  <a:gd name="connsiteX5" fmla="*/ 341103 w 333201"/>
                  <a:gd name="connsiteY5" fmla="*/ 21706 h 38080"/>
                  <a:gd name="connsiteX6" fmla="*/ 317398 w 333201"/>
                  <a:gd name="connsiteY6" fmla="*/ 0 h 38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33201" h="38080">
                    <a:moveTo>
                      <a:pt x="317398" y="0"/>
                    </a:moveTo>
                    <a:lnTo>
                      <a:pt x="23705" y="0"/>
                    </a:lnTo>
                    <a:cubicBezTo>
                      <a:pt x="10567" y="0"/>
                      <a:pt x="0" y="9710"/>
                      <a:pt x="0" y="21706"/>
                    </a:cubicBezTo>
                    <a:cubicBezTo>
                      <a:pt x="0" y="33701"/>
                      <a:pt x="10662" y="43411"/>
                      <a:pt x="23705" y="43411"/>
                    </a:cubicBezTo>
                    <a:lnTo>
                      <a:pt x="317398" y="43411"/>
                    </a:lnTo>
                    <a:cubicBezTo>
                      <a:pt x="330536" y="43411"/>
                      <a:pt x="341103" y="33701"/>
                      <a:pt x="341103" y="21706"/>
                    </a:cubicBezTo>
                    <a:cubicBezTo>
                      <a:pt x="341103" y="9710"/>
                      <a:pt x="330536" y="0"/>
                      <a:pt x="317398" y="0"/>
                    </a:cubicBezTo>
                    <a:close/>
                  </a:path>
                </a:pathLst>
              </a:custGeom>
              <a:solidFill>
                <a:srgbClr val="FF5000"/>
              </a:solidFill>
              <a:ln w="95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pt-BR" sz="689" dirty="0">
                  <a:solidFill>
                    <a:srgbClr val="000000"/>
                  </a:solidFill>
                </a:endParaRPr>
              </a:p>
            </p:txBody>
          </p:sp>
          <p:pic>
            <p:nvPicPr>
              <p:cNvPr id="29" name="Imagem 28">
                <a:extLst>
                  <a:ext uri="{FF2B5EF4-FFF2-40B4-BE49-F238E27FC236}">
                    <a16:creationId xmlns:a16="http://schemas.microsoft.com/office/drawing/2014/main" id="{0322117B-1DD9-D14E-89D2-96EC072DE4A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0" y="1339"/>
                <a:ext cx="847283" cy="1090046"/>
              </a:xfrm>
              <a:custGeom>
                <a:avLst/>
                <a:gdLst>
                  <a:gd name="connsiteX0" fmla="*/ 0 w 1694567"/>
                  <a:gd name="connsiteY0" fmla="*/ 0 h 2180089"/>
                  <a:gd name="connsiteX1" fmla="*/ 1694964 w 1694567"/>
                  <a:gd name="connsiteY1" fmla="*/ 0 h 2180089"/>
                  <a:gd name="connsiteX2" fmla="*/ 1694964 w 1694567"/>
                  <a:gd name="connsiteY2" fmla="*/ 2189328 h 2180089"/>
                  <a:gd name="connsiteX3" fmla="*/ 0 w 1694567"/>
                  <a:gd name="connsiteY3" fmla="*/ 2189328 h 2180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94567" h="2180089">
                    <a:moveTo>
                      <a:pt x="0" y="0"/>
                    </a:moveTo>
                    <a:lnTo>
                      <a:pt x="1694964" y="0"/>
                    </a:lnTo>
                    <a:lnTo>
                      <a:pt x="1694964" y="2189328"/>
                    </a:lnTo>
                    <a:lnTo>
                      <a:pt x="0" y="2189328"/>
                    </a:lnTo>
                    <a:close/>
                  </a:path>
                </a:pathLst>
              </a:custGeom>
              <a:ln/>
            </p:spPr>
          </p:pic>
        </p:grpSp>
        <p:pic>
          <p:nvPicPr>
            <p:cNvPr id="30" name="Imagem 29">
              <a:extLst>
                <a:ext uri="{FF2B5EF4-FFF2-40B4-BE49-F238E27FC236}">
                  <a16:creationId xmlns:a16="http://schemas.microsoft.com/office/drawing/2014/main" id="{8113C54C-49AE-FB48-A432-E8A6AF2065D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/>
            <a:srcRect l="9435" r="7787"/>
            <a:stretch/>
          </p:blipFill>
          <p:spPr>
            <a:xfrm>
              <a:off x="6321121" y="1688256"/>
              <a:ext cx="1816769" cy="1767993"/>
            </a:xfrm>
            <a:prstGeom prst="rect">
              <a:avLst/>
            </a:prstGeom>
          </p:spPr>
        </p:pic>
      </p:grp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8643834"/>
              </p:ext>
            </p:ext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Slide do think-cell" r:id="rId6" imgW="270" imgH="270" progId="TCLayout.ActiveDocument.1">
                  <p:embed/>
                </p:oleObj>
              </mc:Choice>
              <mc:Fallback>
                <p:oleObj name="Slide do think-cell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8E20B858-09B1-4105-837A-E4AAB518048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fontAlgn="base">
              <a:spcBef>
                <a:spcPct val="0"/>
              </a:spcBef>
              <a:spcAft>
                <a:spcPct val="0"/>
              </a:spcAft>
            </a:pPr>
            <a:endParaRPr lang="en-US" sz="3265" b="0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0" name="Picture 19" hidden="1">
            <a:extLst>
              <a:ext uri="{FF2B5EF4-FFF2-40B4-BE49-F238E27FC236}">
                <a16:creationId xmlns:a16="http://schemas.microsoft.com/office/drawing/2014/main" id="{EFD88CA6-E60A-4C74-933F-F7776DF5AD1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6958" y="4369504"/>
            <a:ext cx="2357473" cy="885862"/>
          </a:xfrm>
          <a:prstGeom prst="rect">
            <a:avLst/>
          </a:prstGeom>
        </p:spPr>
      </p:pic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1089" dirty="0">
              <a:solidFill>
                <a:srgbClr val="482A06"/>
              </a:solidFill>
              <a:latin typeface="Arial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1190091" y="4935677"/>
            <a:ext cx="596181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28" dirty="0">
                <a:solidFill>
                  <a:srgbClr val="ADADAD"/>
                </a:solidFill>
                <a:latin typeface="Arial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1190091" y="6381112"/>
            <a:ext cx="5961816" cy="366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9499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16" dirty="0">
                <a:solidFill>
                  <a:srgbClr val="FFFFFF"/>
                </a:solidFill>
              </a:rPr>
              <a:t>CONFIDENTIAL AND PROPRIETARY</a:t>
            </a:r>
          </a:p>
          <a:p>
            <a:pPr defTabSz="109499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16" dirty="0">
                <a:solidFill>
                  <a:srgbClr val="FFFFFF"/>
                </a:solidFill>
              </a:rPr>
              <a:t>Any use of this material without specific permission is strictly prohibi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1190091" y="3319744"/>
            <a:ext cx="5961816" cy="502445"/>
          </a:xfrm>
          <a:prstGeom prst="rect">
            <a:avLst/>
          </a:prstGeom>
        </p:spPr>
        <p:txBody>
          <a:bodyPr/>
          <a:lstStyle>
            <a:lvl1pPr>
              <a:defRPr sz="3265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1190091" y="4609393"/>
            <a:ext cx="5961816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2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grpSp>
        <p:nvGrpSpPr>
          <p:cNvPr id="15" name="LogoImage" hidden="1">
            <a:extLst>
              <a:ext uri="{FF2B5EF4-FFF2-40B4-BE49-F238E27FC236}">
                <a16:creationId xmlns:a16="http://schemas.microsoft.com/office/drawing/2014/main" id="{EAB2229D-6370-488C-937F-1A93CFBD709A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3090573" y="263459"/>
            <a:ext cx="1741648" cy="553873"/>
            <a:chOff x="0" y="973"/>
            <a:chExt cx="7680" cy="2374"/>
          </a:xfrm>
        </p:grpSpPr>
        <p:sp>
          <p:nvSpPr>
            <p:cNvPr id="16" name="AutoShape 3" hidden="1">
              <a:extLst>
                <a:ext uri="{FF2B5EF4-FFF2-40B4-BE49-F238E27FC236}">
                  <a16:creationId xmlns:a16="http://schemas.microsoft.com/office/drawing/2014/main" id="{8E86CEE8-2C1E-45F7-BFA1-BEDA55D35732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5" hidden="1">
              <a:extLst>
                <a:ext uri="{FF2B5EF4-FFF2-40B4-BE49-F238E27FC236}">
                  <a16:creationId xmlns:a16="http://schemas.microsoft.com/office/drawing/2014/main" id="{EB2102CC-8FC1-437F-921D-FAB1EA6588E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</p:grpSp>
      <p:sp>
        <p:nvSpPr>
          <p:cNvPr id="9" name="SlideLogoText" hidden="1">
            <a:extLst>
              <a:ext uri="{FF2B5EF4-FFF2-40B4-BE49-F238E27FC236}">
                <a16:creationId xmlns:a16="http://schemas.microsoft.com/office/drawing/2014/main" id="{043C28F7-1C9D-481F-9348-AB1CBD915891}"/>
              </a:ext>
            </a:extLst>
          </p:cNvPr>
          <p:cNvSpPr txBox="1"/>
          <p:nvPr userDrawn="1"/>
        </p:nvSpPr>
        <p:spPr>
          <a:xfrm>
            <a:off x="10490964" y="6641683"/>
            <a:ext cx="1050047" cy="128097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816" dirty="0">
                <a:solidFill>
                  <a:srgbClr val="808080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7406570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" name="Slide do think-cell" r:id="rId5" imgW="386" imgH="386" progId="TCLayout.ActiveDocument.1">
                  <p:embed/>
                </p:oleObj>
              </mc:Choice>
              <mc:Fallback>
                <p:oleObj name="Slide do think-cell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C6D4636-11AB-466C-B46A-3E11EA656B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04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DB43A1F-4CB4-4CC5-84CB-2D42B2A88F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566" r="30556"/>
          <a:stretch/>
        </p:blipFill>
        <p:spPr>
          <a:xfrm>
            <a:off x="3239" y="1"/>
            <a:ext cx="12188761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7899154B-6928-4B3D-B296-A087981BC5D1}"/>
              </a:ext>
            </a:extLst>
          </p:cNvPr>
          <p:cNvSpPr/>
          <p:nvPr userDrawn="1"/>
        </p:nvSpPr>
        <p:spPr>
          <a:xfrm>
            <a:off x="1" y="1"/>
            <a:ext cx="12188760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15000"/>
                </a:schemeClr>
              </a:gs>
              <a:gs pos="100000">
                <a:schemeClr val="tx1"/>
              </a:gs>
            </a:gsLst>
            <a:lin ang="81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758CF3C-86D1-4E54-A2DD-ECE7459E6FA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5697" y="3052492"/>
            <a:ext cx="2003932" cy="753014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827F25B-6EF4-4723-9071-AB4E24D28AD8}"/>
              </a:ext>
            </a:extLst>
          </p:cNvPr>
          <p:cNvSpPr/>
          <p:nvPr userDrawn="1"/>
        </p:nvSpPr>
        <p:spPr>
          <a:xfrm>
            <a:off x="1" y="6811353"/>
            <a:ext cx="12192000" cy="46648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t-BR" sz="1632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652053" y="6639224"/>
            <a:ext cx="170101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816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sz="816" dirty="0">
              <a:solidFill>
                <a:srgbClr val="FFFFFF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 fontAlgn="base">
              <a:spcBef>
                <a:spcPct val="0"/>
              </a:spcBef>
              <a:spcAft>
                <a:spcPct val="0"/>
              </a:spcAft>
            </a:pPr>
            <a:endParaRPr lang="en-US" sz="612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9854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6" name="Slide do think-cell" r:id="rId5" imgW="386" imgH="386" progId="TCLayout.ActiveDocument.1">
                  <p:embed/>
                </p:oleObj>
              </mc:Choice>
              <mc:Fallback>
                <p:oleObj name="Slide do think-cell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C6D4636-11AB-466C-B46A-3E11EA656B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04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6FFD011-C4F8-4917-90B1-02FC36EB84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44" r="54978"/>
          <a:stretch/>
        </p:blipFill>
        <p:spPr>
          <a:xfrm>
            <a:off x="3239" y="1"/>
            <a:ext cx="12188761" cy="6857999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31FEE260-5EFE-459D-8EC7-767B2C9FEA48}"/>
              </a:ext>
            </a:extLst>
          </p:cNvPr>
          <p:cNvSpPr/>
          <p:nvPr userDrawn="1"/>
        </p:nvSpPr>
        <p:spPr>
          <a:xfrm>
            <a:off x="1" y="1"/>
            <a:ext cx="12188760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15000"/>
                </a:schemeClr>
              </a:gs>
              <a:gs pos="100000">
                <a:schemeClr val="tx1"/>
              </a:gs>
            </a:gsLst>
            <a:lin ang="81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5923D19A-104B-4E24-AEEC-0A51AB0105D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5697" y="3052492"/>
            <a:ext cx="2003932" cy="753014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827F25B-6EF4-4723-9071-AB4E24D28AD8}"/>
              </a:ext>
            </a:extLst>
          </p:cNvPr>
          <p:cNvSpPr/>
          <p:nvPr userDrawn="1"/>
        </p:nvSpPr>
        <p:spPr>
          <a:xfrm>
            <a:off x="1" y="6811353"/>
            <a:ext cx="12192000" cy="46648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t-BR" sz="1632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652053" y="6639224"/>
            <a:ext cx="170101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816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sz="816" dirty="0">
              <a:solidFill>
                <a:srgbClr val="FFFFFF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 fontAlgn="base">
              <a:spcBef>
                <a:spcPct val="0"/>
              </a:spcBef>
              <a:spcAft>
                <a:spcPct val="0"/>
              </a:spcAft>
            </a:pPr>
            <a:endParaRPr lang="en-US" sz="612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6011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" name="Slide do think-cell" r:id="rId5" imgW="386" imgH="386" progId="TCLayout.ActiveDocument.1">
                  <p:embed/>
                </p:oleObj>
              </mc:Choice>
              <mc:Fallback>
                <p:oleObj name="Slide do think-cell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C6D4636-11AB-466C-B46A-3E11EA656B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04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9437CEB-450A-4668-B22B-09D8D3A4DF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29" r="42293"/>
          <a:stretch/>
        </p:blipFill>
        <p:spPr>
          <a:xfrm>
            <a:off x="3239" y="1"/>
            <a:ext cx="12188761" cy="6857999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AC9DDE7E-4FB0-4506-BFF4-A971D8C2F9F5}"/>
              </a:ext>
            </a:extLst>
          </p:cNvPr>
          <p:cNvSpPr/>
          <p:nvPr userDrawn="1"/>
        </p:nvSpPr>
        <p:spPr>
          <a:xfrm>
            <a:off x="1" y="1"/>
            <a:ext cx="12191999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25000"/>
                </a:schemeClr>
              </a:gs>
              <a:gs pos="100000">
                <a:schemeClr val="tx1"/>
              </a:gs>
            </a:gsLst>
            <a:lin ang="81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ADD722A-C39A-4D39-904B-37E3DA8F3C9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5697" y="3052492"/>
            <a:ext cx="2003932" cy="753014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827F25B-6EF4-4723-9071-AB4E24D28AD8}"/>
              </a:ext>
            </a:extLst>
          </p:cNvPr>
          <p:cNvSpPr/>
          <p:nvPr userDrawn="1"/>
        </p:nvSpPr>
        <p:spPr>
          <a:xfrm>
            <a:off x="1" y="6811353"/>
            <a:ext cx="12192000" cy="46648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t-BR" sz="1632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652053" y="6639224"/>
            <a:ext cx="170101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816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sz="816" dirty="0">
              <a:solidFill>
                <a:srgbClr val="FFFFFF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 fontAlgn="base">
              <a:spcBef>
                <a:spcPct val="0"/>
              </a:spcBef>
              <a:spcAft>
                <a:spcPct val="0"/>
              </a:spcAft>
            </a:pPr>
            <a:endParaRPr lang="en-US" sz="612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61044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4" name="Slide do think-cell" r:id="rId5" imgW="386" imgH="386" progId="TCLayout.ActiveDocument.1">
                  <p:embed/>
                </p:oleObj>
              </mc:Choice>
              <mc:Fallback>
                <p:oleObj name="Slide do think-cell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C6D4636-11AB-466C-B46A-3E11EA656B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04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827F25B-6EF4-4723-9071-AB4E24D28AD8}"/>
              </a:ext>
            </a:extLst>
          </p:cNvPr>
          <p:cNvSpPr/>
          <p:nvPr userDrawn="1"/>
        </p:nvSpPr>
        <p:spPr>
          <a:xfrm>
            <a:off x="1" y="6811353"/>
            <a:ext cx="12192000" cy="46648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t-BR" sz="1632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652053" y="6639224"/>
            <a:ext cx="170101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816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sz="816" dirty="0">
              <a:solidFill>
                <a:srgbClr val="FFFFFF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 fontAlgn="base">
              <a:spcBef>
                <a:spcPct val="0"/>
              </a:spcBef>
              <a:spcAft>
                <a:spcPct val="0"/>
              </a:spcAft>
            </a:pPr>
            <a:endParaRPr lang="en-US" sz="612" dirty="0">
              <a:solidFill>
                <a:srgbClr val="808080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1CD7F96-9B61-4C80-87D5-69D199324679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0"/>
                </a:schemeClr>
              </a:gs>
              <a:gs pos="100000">
                <a:schemeClr val="tx1"/>
              </a:gs>
            </a:gsLst>
            <a:lin ang="81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50B40F23-5796-4B01-9818-E6BFE8241CF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7517" y="2691992"/>
            <a:ext cx="3916965" cy="1474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8519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13AD3-3475-4140-ABF1-222FB3836F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519042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381001" y="6466114"/>
            <a:ext cx="11397343" cy="0"/>
          </a:xfrm>
          <a:prstGeom prst="line">
            <a:avLst/>
          </a:prstGeom>
          <a:ln w="571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2"/>
          <p:cNvSpPr>
            <a:spLocks noGrp="1"/>
          </p:cNvSpPr>
          <p:nvPr>
            <p:ph type="body" idx="1"/>
          </p:nvPr>
        </p:nvSpPr>
        <p:spPr>
          <a:xfrm>
            <a:off x="385534" y="376692"/>
            <a:ext cx="11403695" cy="287337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spcBef>
                <a:spcPts val="500"/>
              </a:spcBef>
              <a:buNone/>
              <a:defRPr sz="1400" b="1">
                <a:solidFill>
                  <a:schemeClr val="accent5"/>
                </a:solidFill>
              </a:defRPr>
            </a:lvl1pPr>
            <a:lvl2pPr marL="45719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9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9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8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35846" y="6466113"/>
            <a:ext cx="27432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000" baseline="0">
                <a:solidFill>
                  <a:schemeClr val="accent5">
                    <a:lumMod val="60000"/>
                    <a:lumOff val="40000"/>
                  </a:schemeClr>
                </a:solidFill>
                <a:latin typeface="Verdana Regular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55780C9-1218-2442-B992-B1EF8E30C659}" type="slidenum">
              <a:rPr lang="en-US" smtClean="0">
                <a:solidFill>
                  <a:srgbClr val="3B3B3B">
                    <a:lumMod val="60000"/>
                    <a:lumOff val="4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dirty="0">
              <a:solidFill>
                <a:srgbClr val="3B3B3B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127704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oad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2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900" b="1" dirty="0">
              <a:solidFill>
                <a:prstClr val="white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Slide Number Placeholder 2"/>
          <p:cNvSpPr txBox="1">
            <a:spLocks/>
          </p:cNvSpPr>
          <p:nvPr userDrawn="1"/>
        </p:nvSpPr>
        <p:spPr>
          <a:xfrm rot="10800000" flipV="1">
            <a:off x="11908275" y="6665345"/>
            <a:ext cx="203608" cy="153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>
            <a:lvl1pPr algn="r">
              <a:defRPr sz="1000">
                <a:latin typeface="Times New Roman" pitchFamily="18" charset="0"/>
                <a:cs typeface="Times New Roman" pitchFamily="18" charset="0"/>
              </a:defRPr>
            </a:lvl1pPr>
          </a:lstStyle>
          <a:p>
            <a:pPr defTabSz="1017331" fontAlgn="base">
              <a:spcBef>
                <a:spcPct val="0"/>
              </a:spcBef>
              <a:spcAft>
                <a:spcPct val="0"/>
              </a:spcAft>
              <a:defRPr/>
            </a:pPr>
            <a:fld id="{F70F02F7-EE54-4B6B-A095-43F23D2B5A83}" type="slidenum">
              <a:rPr lang="pt-BR" altLang="zh-CN" smtClean="0">
                <a:solidFill>
                  <a:prstClr val="black">
                    <a:lumMod val="50000"/>
                    <a:lumOff val="50000"/>
                  </a:prstClr>
                </a:solidFill>
                <a:latin typeface="Arial" charset="0"/>
                <a:cs typeface="Arial" charset="0"/>
              </a:rPr>
              <a:pPr defTabSz="1017331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pt-BR" altLang="zh-CN" dirty="0">
              <a:solidFill>
                <a:prstClr val="black">
                  <a:lumMod val="50000"/>
                  <a:lumOff val="50000"/>
                </a:prstClr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08827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up Road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6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900" b="1" dirty="0">
              <a:solidFill>
                <a:prstClr val="white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62790" y="0"/>
            <a:ext cx="8640000" cy="540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0" baseline="0">
                <a:solidFill>
                  <a:srgbClr val="50505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endParaRPr lang="pt-BR" dirty="0"/>
          </a:p>
        </p:txBody>
      </p:sp>
      <p:sp>
        <p:nvSpPr>
          <p:cNvPr id="10" name="Slide Number Placeholder 2"/>
          <p:cNvSpPr txBox="1">
            <a:spLocks/>
          </p:cNvSpPr>
          <p:nvPr userDrawn="1"/>
        </p:nvSpPr>
        <p:spPr>
          <a:xfrm rot="10800000" flipV="1">
            <a:off x="11908275" y="6665345"/>
            <a:ext cx="203608" cy="153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>
            <a:lvl1pPr algn="r">
              <a:defRPr sz="1000">
                <a:latin typeface="Times New Roman" pitchFamily="18" charset="0"/>
                <a:cs typeface="Times New Roman" pitchFamily="18" charset="0"/>
              </a:defRPr>
            </a:lvl1pPr>
          </a:lstStyle>
          <a:p>
            <a:pPr defTabSz="1017331" fontAlgn="base">
              <a:spcBef>
                <a:spcPct val="0"/>
              </a:spcBef>
              <a:spcAft>
                <a:spcPct val="0"/>
              </a:spcAft>
              <a:defRPr/>
            </a:pPr>
            <a:fld id="{F70F02F7-EE54-4B6B-A095-43F23D2B5A83}" type="slidenum">
              <a:rPr lang="pt-BR" altLang="zh-CN" smtClean="0">
                <a:solidFill>
                  <a:prstClr val="black">
                    <a:lumMod val="50000"/>
                    <a:lumOff val="50000"/>
                  </a:prstClr>
                </a:solidFill>
                <a:latin typeface="Arial" charset="0"/>
                <a:cs typeface="Arial" charset="0"/>
              </a:rPr>
              <a:pPr defTabSz="1017331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pt-BR" altLang="zh-CN" dirty="0">
              <a:solidFill>
                <a:prstClr val="black">
                  <a:lumMod val="50000"/>
                  <a:lumOff val="50000"/>
                </a:prstClr>
              </a:solidFill>
              <a:latin typeface="Arial" charset="0"/>
              <a:cs typeface="Arial" charset="0"/>
            </a:endParaRPr>
          </a:p>
        </p:txBody>
      </p:sp>
      <p:cxnSp>
        <p:nvCxnSpPr>
          <p:cNvPr id="8" name="Conector reto 7">
            <a:extLst>
              <a:ext uri="{FF2B5EF4-FFF2-40B4-BE49-F238E27FC236}">
                <a16:creationId xmlns:a16="http://schemas.microsoft.com/office/drawing/2014/main" id="{E1C8CBF8-7C61-45EF-933A-CA897D07BD36}"/>
              </a:ext>
            </a:extLst>
          </p:cNvPr>
          <p:cNvCxnSpPr/>
          <p:nvPr userDrawn="1"/>
        </p:nvCxnSpPr>
        <p:spPr>
          <a:xfrm>
            <a:off x="0" y="542578"/>
            <a:ext cx="12186000" cy="0"/>
          </a:xfrm>
          <a:prstGeom prst="line">
            <a:avLst/>
          </a:prstGeom>
          <a:ln>
            <a:solidFill>
              <a:srgbClr val="FF5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ítulo 1">
            <a:extLst>
              <a:ext uri="{FF2B5EF4-FFF2-40B4-BE49-F238E27FC236}">
                <a16:creationId xmlns:a16="http://schemas.microsoft.com/office/drawing/2014/main" id="{E56784C4-8207-421F-BC42-F8E205F6E6C6}"/>
              </a:ext>
            </a:extLst>
          </p:cNvPr>
          <p:cNvSpPr txBox="1">
            <a:spLocks/>
          </p:cNvSpPr>
          <p:nvPr userDrawn="1"/>
        </p:nvSpPr>
        <p:spPr>
          <a:xfrm>
            <a:off x="2162121" y="-4713"/>
            <a:ext cx="8640000" cy="5472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1038977" rtl="0" eaLnBrk="1" latinLnBrk="0" hangingPunct="1">
              <a:spcBef>
                <a:spcPct val="0"/>
              </a:spcBef>
              <a:buNone/>
              <a:defRPr sz="1900" b="1" kern="1200" baseline="0">
                <a:solidFill>
                  <a:srgbClr val="376092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endParaRPr lang="en-US" altLang="en-US" sz="2000" dirty="0">
              <a:solidFill>
                <a:srgbClr val="505050"/>
              </a:solidFill>
              <a:latin typeface="Trebuchet MS" panose="020B0603020202020204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327234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B101923-89EA-4982-A289-77687E42B34F}" type="datetimeFigureOut">
              <a:rPr lang="en-US" smtClean="0">
                <a:solidFill>
                  <a:prstClr val="black"/>
                </a:solidFill>
              </a:rPr>
              <a:pPr/>
              <a:t>8/5/2021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9CD2B84-F5F4-46F3-B3BD-78F186CA529A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79341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B101923-89EA-4982-A289-77687E42B34F}" type="datetimeFigureOut">
              <a:rPr lang="en-US" smtClean="0">
                <a:solidFill>
                  <a:prstClr val="black"/>
                </a:solidFill>
              </a:rPr>
              <a:pPr/>
              <a:t>8/5/2021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9CD2B84-F5F4-46F3-B3BD-78F186CA529A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4328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Agrupar 1">
            <a:extLst>
              <a:ext uri="{FF2B5EF4-FFF2-40B4-BE49-F238E27FC236}">
                <a16:creationId xmlns:a16="http://schemas.microsoft.com/office/drawing/2014/main" id="{6E44D0EB-5113-D04D-B7B9-F27D9FD7C2F6}"/>
              </a:ext>
            </a:extLst>
          </p:cNvPr>
          <p:cNvGrpSpPr/>
          <p:nvPr userDrawn="1"/>
        </p:nvGrpSpPr>
        <p:grpSpPr>
          <a:xfrm>
            <a:off x="0" y="1366"/>
            <a:ext cx="12196099" cy="6856634"/>
            <a:chOff x="0" y="1339"/>
            <a:chExt cx="9144000" cy="5140823"/>
          </a:xfrm>
        </p:grpSpPr>
        <p:sp>
          <p:nvSpPr>
            <p:cNvPr id="23" name="Forma Livre: Forma 6310">
              <a:extLst>
                <a:ext uri="{FF2B5EF4-FFF2-40B4-BE49-F238E27FC236}">
                  <a16:creationId xmlns:a16="http://schemas.microsoft.com/office/drawing/2014/main" id="{364C2E3C-D887-5444-BB47-C8F4C81EA43A}"/>
                </a:ext>
              </a:extLst>
            </p:cNvPr>
            <p:cNvSpPr/>
            <p:nvPr userDrawn="1"/>
          </p:nvSpPr>
          <p:spPr>
            <a:xfrm>
              <a:off x="0" y="1339"/>
              <a:ext cx="9144000" cy="5140823"/>
            </a:xfrm>
            <a:custGeom>
              <a:avLst/>
              <a:gdLst>
                <a:gd name="connsiteX0" fmla="*/ 0 w 18288000"/>
                <a:gd name="connsiteY0" fmla="*/ 0 h 10281645"/>
                <a:gd name="connsiteX1" fmla="*/ 18290284 w 18288000"/>
                <a:gd name="connsiteY1" fmla="*/ 0 h 10281645"/>
                <a:gd name="connsiteX2" fmla="*/ 18290284 w 18288000"/>
                <a:gd name="connsiteY2" fmla="*/ 10281645 h 10281645"/>
                <a:gd name="connsiteX3" fmla="*/ 0 w 18288000"/>
                <a:gd name="connsiteY3" fmla="*/ 10281645 h 10281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0" h="10281645">
                  <a:moveTo>
                    <a:pt x="0" y="0"/>
                  </a:moveTo>
                  <a:lnTo>
                    <a:pt x="18290284" y="0"/>
                  </a:lnTo>
                  <a:lnTo>
                    <a:pt x="18290284" y="10281645"/>
                  </a:lnTo>
                  <a:lnTo>
                    <a:pt x="0" y="10281645"/>
                  </a:lnTo>
                  <a:close/>
                </a:path>
              </a:pathLst>
            </a:custGeom>
            <a:solidFill>
              <a:srgbClr val="1E1E1E"/>
            </a:solidFill>
            <a:ln w="95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pt-BR" sz="689" dirty="0">
                <a:solidFill>
                  <a:srgbClr val="000000"/>
                </a:solidFill>
              </a:endParaRPr>
            </a:p>
          </p:txBody>
        </p:sp>
        <p:pic>
          <p:nvPicPr>
            <p:cNvPr id="24" name="Imagem 23">
              <a:extLst>
                <a:ext uri="{FF2B5EF4-FFF2-40B4-BE49-F238E27FC236}">
                  <a16:creationId xmlns:a16="http://schemas.microsoft.com/office/drawing/2014/main" id="{0B51D8F9-5713-4B4D-B671-5DF532384B3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8278355" y="4585648"/>
              <a:ext cx="865135" cy="554308"/>
            </a:xfrm>
            <a:custGeom>
              <a:avLst/>
              <a:gdLst>
                <a:gd name="connsiteX0" fmla="*/ 0 w 4769540"/>
                <a:gd name="connsiteY0" fmla="*/ 0 h 3055933"/>
                <a:gd name="connsiteX1" fmla="*/ 4772326 w 4769540"/>
                <a:gd name="connsiteY1" fmla="*/ 0 h 3055933"/>
                <a:gd name="connsiteX2" fmla="*/ 4772326 w 4769540"/>
                <a:gd name="connsiteY2" fmla="*/ 3060008 h 3055933"/>
                <a:gd name="connsiteX3" fmla="*/ 0 w 4769540"/>
                <a:gd name="connsiteY3" fmla="*/ 3060008 h 3055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9540" h="3055933">
                  <a:moveTo>
                    <a:pt x="0" y="0"/>
                  </a:moveTo>
                  <a:lnTo>
                    <a:pt x="4772326" y="0"/>
                  </a:lnTo>
                  <a:lnTo>
                    <a:pt x="4772326" y="3060008"/>
                  </a:lnTo>
                  <a:lnTo>
                    <a:pt x="0" y="3060008"/>
                  </a:lnTo>
                  <a:close/>
                </a:path>
              </a:pathLst>
            </a:custGeom>
            <a:ln/>
          </p:spPr>
        </p:pic>
        <p:grpSp>
          <p:nvGrpSpPr>
            <p:cNvPr id="25" name="Grupo 57">
              <a:extLst>
                <a:ext uri="{FF2B5EF4-FFF2-40B4-BE49-F238E27FC236}">
                  <a16:creationId xmlns:a16="http://schemas.microsoft.com/office/drawing/2014/main" id="{1312FBD9-A679-724A-AE17-DD06CE674EEB}"/>
                </a:ext>
              </a:extLst>
            </p:cNvPr>
            <p:cNvGrpSpPr/>
            <p:nvPr userDrawn="1"/>
          </p:nvGrpSpPr>
          <p:grpSpPr>
            <a:xfrm>
              <a:off x="892268" y="1615815"/>
              <a:ext cx="546994" cy="732295"/>
              <a:chOff x="0" y="1339"/>
              <a:chExt cx="929014" cy="1134932"/>
            </a:xfrm>
          </p:grpSpPr>
          <p:sp>
            <p:nvSpPr>
              <p:cNvPr id="27" name="Forma Livre: Forma 6311">
                <a:extLst>
                  <a:ext uri="{FF2B5EF4-FFF2-40B4-BE49-F238E27FC236}">
                    <a16:creationId xmlns:a16="http://schemas.microsoft.com/office/drawing/2014/main" id="{384F6E0E-49A2-3A45-B6D3-83DE7712B925}"/>
                  </a:ext>
                </a:extLst>
              </p:cNvPr>
              <p:cNvSpPr/>
              <p:nvPr/>
            </p:nvSpPr>
            <p:spPr>
              <a:xfrm>
                <a:off x="835860" y="983950"/>
                <a:ext cx="19040" cy="152321"/>
              </a:xfrm>
              <a:custGeom>
                <a:avLst/>
                <a:gdLst>
                  <a:gd name="connsiteX0" fmla="*/ 23705 w 38080"/>
                  <a:gd name="connsiteY0" fmla="*/ 0 h 304641"/>
                  <a:gd name="connsiteX1" fmla="*/ 0 w 38080"/>
                  <a:gd name="connsiteY1" fmla="*/ 21706 h 304641"/>
                  <a:gd name="connsiteX2" fmla="*/ 0 w 38080"/>
                  <a:gd name="connsiteY2" fmla="*/ 290552 h 304641"/>
                  <a:gd name="connsiteX3" fmla="*/ 23705 w 38080"/>
                  <a:gd name="connsiteY3" fmla="*/ 312257 h 304641"/>
                  <a:gd name="connsiteX4" fmla="*/ 47410 w 38080"/>
                  <a:gd name="connsiteY4" fmla="*/ 290552 h 304641"/>
                  <a:gd name="connsiteX5" fmla="*/ 47410 w 38080"/>
                  <a:gd name="connsiteY5" fmla="*/ 21706 h 304641"/>
                  <a:gd name="connsiteX6" fmla="*/ 23705 w 38080"/>
                  <a:gd name="connsiteY6" fmla="*/ 0 h 304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8080" h="304641">
                    <a:moveTo>
                      <a:pt x="23705" y="0"/>
                    </a:moveTo>
                    <a:cubicBezTo>
                      <a:pt x="10567" y="0"/>
                      <a:pt x="0" y="9710"/>
                      <a:pt x="0" y="21706"/>
                    </a:cubicBezTo>
                    <a:lnTo>
                      <a:pt x="0" y="290552"/>
                    </a:lnTo>
                    <a:cubicBezTo>
                      <a:pt x="0" y="302547"/>
                      <a:pt x="10662" y="312257"/>
                      <a:pt x="23705" y="312257"/>
                    </a:cubicBezTo>
                    <a:cubicBezTo>
                      <a:pt x="36843" y="312257"/>
                      <a:pt x="47410" y="302547"/>
                      <a:pt x="47410" y="290552"/>
                    </a:cubicBezTo>
                    <a:lnTo>
                      <a:pt x="47410" y="21706"/>
                    </a:lnTo>
                    <a:cubicBezTo>
                      <a:pt x="47410" y="9806"/>
                      <a:pt x="36747" y="0"/>
                      <a:pt x="23705" y="0"/>
                    </a:cubicBezTo>
                    <a:close/>
                  </a:path>
                </a:pathLst>
              </a:custGeom>
              <a:solidFill>
                <a:srgbClr val="FF5000"/>
              </a:solidFill>
              <a:ln w="95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pt-BR" sz="68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" name="Forma Livre: Forma 6312">
                <a:extLst>
                  <a:ext uri="{FF2B5EF4-FFF2-40B4-BE49-F238E27FC236}">
                    <a16:creationId xmlns:a16="http://schemas.microsoft.com/office/drawing/2014/main" id="{2A7D223A-C92A-9E49-ABEB-F074E04187DC}"/>
                  </a:ext>
                </a:extLst>
              </p:cNvPr>
              <p:cNvSpPr/>
              <p:nvPr/>
            </p:nvSpPr>
            <p:spPr>
              <a:xfrm>
                <a:off x="762413" y="1051161"/>
                <a:ext cx="166601" cy="19040"/>
              </a:xfrm>
              <a:custGeom>
                <a:avLst/>
                <a:gdLst>
                  <a:gd name="connsiteX0" fmla="*/ 317398 w 333201"/>
                  <a:gd name="connsiteY0" fmla="*/ 0 h 38080"/>
                  <a:gd name="connsiteX1" fmla="*/ 23705 w 333201"/>
                  <a:gd name="connsiteY1" fmla="*/ 0 h 38080"/>
                  <a:gd name="connsiteX2" fmla="*/ 0 w 333201"/>
                  <a:gd name="connsiteY2" fmla="*/ 21706 h 38080"/>
                  <a:gd name="connsiteX3" fmla="*/ 23705 w 333201"/>
                  <a:gd name="connsiteY3" fmla="*/ 43411 h 38080"/>
                  <a:gd name="connsiteX4" fmla="*/ 317398 w 333201"/>
                  <a:gd name="connsiteY4" fmla="*/ 43411 h 38080"/>
                  <a:gd name="connsiteX5" fmla="*/ 341103 w 333201"/>
                  <a:gd name="connsiteY5" fmla="*/ 21706 h 38080"/>
                  <a:gd name="connsiteX6" fmla="*/ 317398 w 333201"/>
                  <a:gd name="connsiteY6" fmla="*/ 0 h 38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33201" h="38080">
                    <a:moveTo>
                      <a:pt x="317398" y="0"/>
                    </a:moveTo>
                    <a:lnTo>
                      <a:pt x="23705" y="0"/>
                    </a:lnTo>
                    <a:cubicBezTo>
                      <a:pt x="10567" y="0"/>
                      <a:pt x="0" y="9710"/>
                      <a:pt x="0" y="21706"/>
                    </a:cubicBezTo>
                    <a:cubicBezTo>
                      <a:pt x="0" y="33701"/>
                      <a:pt x="10662" y="43411"/>
                      <a:pt x="23705" y="43411"/>
                    </a:cubicBezTo>
                    <a:lnTo>
                      <a:pt x="317398" y="43411"/>
                    </a:lnTo>
                    <a:cubicBezTo>
                      <a:pt x="330536" y="43411"/>
                      <a:pt x="341103" y="33701"/>
                      <a:pt x="341103" y="21706"/>
                    </a:cubicBezTo>
                    <a:cubicBezTo>
                      <a:pt x="341103" y="9710"/>
                      <a:pt x="330536" y="0"/>
                      <a:pt x="317398" y="0"/>
                    </a:cubicBezTo>
                    <a:close/>
                  </a:path>
                </a:pathLst>
              </a:custGeom>
              <a:solidFill>
                <a:srgbClr val="FF5000"/>
              </a:solidFill>
              <a:ln w="95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pt-BR" sz="689" dirty="0">
                  <a:solidFill>
                    <a:srgbClr val="000000"/>
                  </a:solidFill>
                </a:endParaRPr>
              </a:p>
            </p:txBody>
          </p:sp>
          <p:pic>
            <p:nvPicPr>
              <p:cNvPr id="29" name="Imagem 28">
                <a:extLst>
                  <a:ext uri="{FF2B5EF4-FFF2-40B4-BE49-F238E27FC236}">
                    <a16:creationId xmlns:a16="http://schemas.microsoft.com/office/drawing/2014/main" id="{0322117B-1DD9-D14E-89D2-96EC072DE4A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0" y="1339"/>
                <a:ext cx="847283" cy="1090046"/>
              </a:xfrm>
              <a:custGeom>
                <a:avLst/>
                <a:gdLst>
                  <a:gd name="connsiteX0" fmla="*/ 0 w 1694567"/>
                  <a:gd name="connsiteY0" fmla="*/ 0 h 2180089"/>
                  <a:gd name="connsiteX1" fmla="*/ 1694964 w 1694567"/>
                  <a:gd name="connsiteY1" fmla="*/ 0 h 2180089"/>
                  <a:gd name="connsiteX2" fmla="*/ 1694964 w 1694567"/>
                  <a:gd name="connsiteY2" fmla="*/ 2189328 h 2180089"/>
                  <a:gd name="connsiteX3" fmla="*/ 0 w 1694567"/>
                  <a:gd name="connsiteY3" fmla="*/ 2189328 h 2180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94567" h="2180089">
                    <a:moveTo>
                      <a:pt x="0" y="0"/>
                    </a:moveTo>
                    <a:lnTo>
                      <a:pt x="1694964" y="0"/>
                    </a:lnTo>
                    <a:lnTo>
                      <a:pt x="1694964" y="2189328"/>
                    </a:lnTo>
                    <a:lnTo>
                      <a:pt x="0" y="2189328"/>
                    </a:lnTo>
                    <a:close/>
                  </a:path>
                </a:pathLst>
              </a:custGeom>
              <a:ln/>
            </p:spPr>
          </p:pic>
        </p:grpSp>
        <p:pic>
          <p:nvPicPr>
            <p:cNvPr id="30" name="Imagem 29">
              <a:extLst>
                <a:ext uri="{FF2B5EF4-FFF2-40B4-BE49-F238E27FC236}">
                  <a16:creationId xmlns:a16="http://schemas.microsoft.com/office/drawing/2014/main" id="{8113C54C-49AE-FB48-A432-E8A6AF2065D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/>
            <a:srcRect l="9435" r="7787"/>
            <a:stretch/>
          </p:blipFill>
          <p:spPr>
            <a:xfrm>
              <a:off x="6321121" y="1688256"/>
              <a:ext cx="1816769" cy="1767993"/>
            </a:xfrm>
            <a:prstGeom prst="rect">
              <a:avLst/>
            </a:prstGeom>
          </p:spPr>
        </p:pic>
      </p:grp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Slide do think-cell" r:id="rId6" imgW="270" imgH="270" progId="TCLayout.ActiveDocument.1">
                  <p:embed/>
                </p:oleObj>
              </mc:Choice>
              <mc:Fallback>
                <p:oleObj name="Slide do think-cell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8E20B858-09B1-4105-837A-E4AAB518048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265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pic>
        <p:nvPicPr>
          <p:cNvPr id="20" name="Picture 19" hidden="1">
            <a:extLst>
              <a:ext uri="{FF2B5EF4-FFF2-40B4-BE49-F238E27FC236}">
                <a16:creationId xmlns:a16="http://schemas.microsoft.com/office/drawing/2014/main" id="{EFD88CA6-E60A-4C74-933F-F7776DF5AD1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6958" y="4369504"/>
            <a:ext cx="2357473" cy="885862"/>
          </a:xfrm>
          <a:prstGeom prst="rect">
            <a:avLst/>
          </a:prstGeom>
        </p:spPr>
      </p:pic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1089" dirty="0">
              <a:solidFill>
                <a:srgbClr val="482A06"/>
              </a:solidFill>
              <a:latin typeface="Arial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1190091" y="4935677"/>
            <a:ext cx="596181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28" dirty="0">
                <a:solidFill>
                  <a:srgbClr val="ADADAD"/>
                </a:solidFill>
                <a:latin typeface="Arial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1190091" y="6381112"/>
            <a:ext cx="5961816" cy="366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9499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16" dirty="0">
                <a:solidFill>
                  <a:srgbClr val="FFFFFF"/>
                </a:solidFill>
              </a:rPr>
              <a:t>CONFIDENTIAL AND PROPRIETARY</a:t>
            </a:r>
          </a:p>
          <a:p>
            <a:pPr defTabSz="109499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16" dirty="0">
                <a:solidFill>
                  <a:srgbClr val="FFFFFF"/>
                </a:solidFill>
              </a:rPr>
              <a:t>Any use of this material without specific permission is strictly prohibi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1190091" y="3319744"/>
            <a:ext cx="5961816" cy="502445"/>
          </a:xfrm>
          <a:prstGeom prst="rect">
            <a:avLst/>
          </a:prstGeom>
        </p:spPr>
        <p:txBody>
          <a:bodyPr/>
          <a:lstStyle>
            <a:lvl1pPr>
              <a:defRPr sz="3265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1190091" y="4609393"/>
            <a:ext cx="5961816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2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grpSp>
        <p:nvGrpSpPr>
          <p:cNvPr id="15" name="LogoImage" hidden="1">
            <a:extLst>
              <a:ext uri="{FF2B5EF4-FFF2-40B4-BE49-F238E27FC236}">
                <a16:creationId xmlns:a16="http://schemas.microsoft.com/office/drawing/2014/main" id="{EAB2229D-6370-488C-937F-1A93CFBD709A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3090573" y="263459"/>
            <a:ext cx="1741648" cy="553873"/>
            <a:chOff x="0" y="973"/>
            <a:chExt cx="7680" cy="2374"/>
          </a:xfrm>
        </p:grpSpPr>
        <p:sp>
          <p:nvSpPr>
            <p:cNvPr id="16" name="AutoShape 3" hidden="1">
              <a:extLst>
                <a:ext uri="{FF2B5EF4-FFF2-40B4-BE49-F238E27FC236}">
                  <a16:creationId xmlns:a16="http://schemas.microsoft.com/office/drawing/2014/main" id="{8E86CEE8-2C1E-45F7-BFA1-BEDA55D35732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5" hidden="1">
              <a:extLst>
                <a:ext uri="{FF2B5EF4-FFF2-40B4-BE49-F238E27FC236}">
                  <a16:creationId xmlns:a16="http://schemas.microsoft.com/office/drawing/2014/main" id="{EB2102CC-8FC1-437F-921D-FAB1EA6588E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</p:grpSp>
      <p:sp>
        <p:nvSpPr>
          <p:cNvPr id="9" name="SlideLogoText" hidden="1">
            <a:extLst>
              <a:ext uri="{FF2B5EF4-FFF2-40B4-BE49-F238E27FC236}">
                <a16:creationId xmlns:a16="http://schemas.microsoft.com/office/drawing/2014/main" id="{043C28F7-1C9D-481F-9348-AB1CBD915891}"/>
              </a:ext>
            </a:extLst>
          </p:cNvPr>
          <p:cNvSpPr txBox="1"/>
          <p:nvPr userDrawn="1"/>
        </p:nvSpPr>
        <p:spPr>
          <a:xfrm>
            <a:off x="10490964" y="6641683"/>
            <a:ext cx="1050047" cy="128097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816" dirty="0">
                <a:solidFill>
                  <a:srgbClr val="808080"/>
                </a:solidFill>
              </a:rPr>
              <a:t>McKinsey &amp; Company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FAEAF10-6727-43CD-964D-541777FE2EF2}"/>
              </a:ext>
            </a:extLst>
          </p:cNvPr>
          <p:cNvSpPr txBox="1"/>
          <p:nvPr userDrawn="1"/>
        </p:nvSpPr>
        <p:spPr>
          <a:xfrm>
            <a:off x="8719217" y="6566446"/>
            <a:ext cx="21299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BE09578-E844-44CA-BD6F-6CD1948E7D7B}" type="slidenum">
              <a:rPr lang="pt-BR" sz="102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pt-BR" sz="102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473243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0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2"/>
          <p:cNvSpPr txBox="1">
            <a:spLocks/>
          </p:cNvSpPr>
          <p:nvPr userDrawn="1"/>
        </p:nvSpPr>
        <p:spPr>
          <a:xfrm rot="10800000" flipV="1">
            <a:off x="11908275" y="6665345"/>
            <a:ext cx="203608" cy="153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>
            <a:lvl1pPr algn="r">
              <a:defRPr sz="1000">
                <a:latin typeface="Times New Roman" pitchFamily="18" charset="0"/>
                <a:cs typeface="Times New Roman" pitchFamily="18" charset="0"/>
              </a:defRPr>
            </a:lvl1pPr>
          </a:lstStyle>
          <a:p>
            <a:pPr defTabSz="1017331" fontAlgn="base">
              <a:spcBef>
                <a:spcPct val="0"/>
              </a:spcBef>
              <a:spcAft>
                <a:spcPct val="0"/>
              </a:spcAft>
              <a:defRPr/>
            </a:pPr>
            <a:fld id="{F70F02F7-EE54-4B6B-A095-43F23D2B5A83}" type="slidenum">
              <a:rPr lang="pt-BR" altLang="zh-CN" smtClean="0">
                <a:solidFill>
                  <a:prstClr val="black">
                    <a:lumMod val="50000"/>
                    <a:lumOff val="50000"/>
                  </a:prstClr>
                </a:solidFill>
                <a:latin typeface="Arial" charset="0"/>
                <a:cs typeface="Arial" charset="0"/>
              </a:rPr>
              <a:pPr defTabSz="1017331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pt-BR" altLang="zh-CN" dirty="0">
              <a:solidFill>
                <a:prstClr val="black">
                  <a:lumMod val="50000"/>
                  <a:lumOff val="50000"/>
                </a:prstClr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0237907"/>
      </p:ext>
    </p:extLst>
  </p:cSld>
  <p:clrMapOvr>
    <a:masterClrMapping/>
  </p:clrMapOvr>
  <p:transition spd="slow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ítulo e grá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4" name="AutoShap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Conector reto 6">
            <a:extLst>
              <a:ext uri="{FF2B5EF4-FFF2-40B4-BE49-F238E27FC236}">
                <a16:creationId xmlns:a16="http://schemas.microsoft.com/office/drawing/2014/main" id="{89BF6ADA-AED4-4DCC-A73A-66730A0B9C4C}"/>
              </a:ext>
            </a:extLst>
          </p:cNvPr>
          <p:cNvCxnSpPr/>
          <p:nvPr userDrawn="1"/>
        </p:nvCxnSpPr>
        <p:spPr>
          <a:xfrm>
            <a:off x="0" y="542578"/>
            <a:ext cx="12186000" cy="0"/>
          </a:xfrm>
          <a:prstGeom prst="line">
            <a:avLst/>
          </a:prstGeom>
          <a:ln>
            <a:solidFill>
              <a:srgbClr val="FF5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ítulo 1">
            <a:extLst>
              <a:ext uri="{FF2B5EF4-FFF2-40B4-BE49-F238E27FC236}">
                <a16:creationId xmlns:a16="http://schemas.microsoft.com/office/drawing/2014/main" id="{13CFF6FC-7682-45B1-AD27-53239841FBB5}"/>
              </a:ext>
            </a:extLst>
          </p:cNvPr>
          <p:cNvSpPr txBox="1">
            <a:spLocks/>
          </p:cNvSpPr>
          <p:nvPr userDrawn="1"/>
        </p:nvSpPr>
        <p:spPr>
          <a:xfrm>
            <a:off x="2162121" y="-4713"/>
            <a:ext cx="8640000" cy="5472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1038977" rtl="0" eaLnBrk="1" latinLnBrk="0" hangingPunct="1">
              <a:spcBef>
                <a:spcPct val="0"/>
              </a:spcBef>
              <a:buNone/>
              <a:defRPr sz="1900" b="1" kern="1200" baseline="0">
                <a:solidFill>
                  <a:srgbClr val="376092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endParaRPr lang="en-US" altLang="en-US" sz="2000" dirty="0">
              <a:solidFill>
                <a:srgbClr val="505050"/>
              </a:solidFill>
              <a:latin typeface="Trebuchet MS" panose="020B0603020202020204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0592309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8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029464" y="6466114"/>
            <a:ext cx="27432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1000" baseline="0">
                <a:solidFill>
                  <a:schemeClr val="accent5">
                    <a:lumMod val="60000"/>
                    <a:lumOff val="40000"/>
                  </a:schemeClr>
                </a:solidFill>
                <a:latin typeface="Verdana Regular" charset="0"/>
              </a:defRPr>
            </a:lvl1pPr>
          </a:lstStyle>
          <a:p>
            <a:fld id="{B55780C9-1218-2442-B992-B1EF8E30C659}" type="slidenum">
              <a:rPr lang="en-US" smtClean="0">
                <a:solidFill>
                  <a:srgbClr val="3B3B3B">
                    <a:lumMod val="60000"/>
                    <a:lumOff val="40000"/>
                  </a:srgbClr>
                </a:solidFill>
              </a:rPr>
              <a:pPr/>
              <a:t>‹Nº›</a:t>
            </a:fld>
            <a:endParaRPr lang="en-US" dirty="0">
              <a:solidFill>
                <a:srgbClr val="3B3B3B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76450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2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91886" y="6481989"/>
            <a:ext cx="27432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000" baseline="0">
                <a:solidFill>
                  <a:schemeClr val="accent5">
                    <a:lumMod val="60000"/>
                    <a:lumOff val="40000"/>
                  </a:schemeClr>
                </a:solidFill>
                <a:latin typeface="Verdana Regular" charset="0"/>
              </a:defRPr>
            </a:lvl1pPr>
          </a:lstStyle>
          <a:p>
            <a:fld id="{B55780C9-1218-2442-B992-B1EF8E30C659}" type="slidenum">
              <a:rPr lang="en-US" smtClean="0">
                <a:solidFill>
                  <a:srgbClr val="3B3B3B">
                    <a:lumMod val="60000"/>
                    <a:lumOff val="40000"/>
                  </a:srgbClr>
                </a:solidFill>
              </a:rPr>
              <a:pPr/>
              <a:t>‹Nº›</a:t>
            </a:fld>
            <a:endParaRPr lang="en-US" dirty="0">
              <a:solidFill>
                <a:srgbClr val="3B3B3B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7" name="Footer Placeholder 6"/>
          <p:cNvSpPr>
            <a:spLocks noGrp="1"/>
          </p:cNvSpPr>
          <p:nvPr>
            <p:ph type="ftr" sz="quarter" idx="14"/>
          </p:nvPr>
        </p:nvSpPr>
        <p:spPr>
          <a:xfrm>
            <a:off x="7663543" y="6492875"/>
            <a:ext cx="41148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100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 dirty="0">
              <a:solidFill>
                <a:srgbClr val="3B3B3B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25091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Section Hea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6" name="Slide do think-cell" r:id="rId4" imgW="470" imgH="469" progId="TCLayout.ActiveDocument.1">
                  <p:embed/>
                </p:oleObj>
              </mc:Choice>
              <mc:Fallback>
                <p:oleObj name="Slide do think-cell" r:id="rId4" imgW="470" imgH="469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713176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391886" y="391886"/>
            <a:ext cx="11385777" cy="6058354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381000" y="6466114"/>
            <a:ext cx="11397343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91886" y="6481989"/>
            <a:ext cx="27432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000" baseline="0">
                <a:solidFill>
                  <a:schemeClr val="accent5">
                    <a:lumMod val="60000"/>
                    <a:lumOff val="40000"/>
                  </a:schemeClr>
                </a:solidFill>
                <a:latin typeface="Verdana Regular" charset="0"/>
              </a:defRPr>
            </a:lvl1pPr>
          </a:lstStyle>
          <a:p>
            <a:fld id="{B55780C9-1218-2442-B992-B1EF8E30C659}" type="slidenum">
              <a:rPr lang="en-US" smtClean="0">
                <a:solidFill>
                  <a:srgbClr val="4472C4">
                    <a:lumMod val="60000"/>
                    <a:lumOff val="40000"/>
                  </a:srgbClr>
                </a:solidFill>
              </a:rPr>
              <a:pPr/>
              <a:t>‹Nº›</a:t>
            </a:fld>
            <a:endParaRPr lang="en-US" dirty="0">
              <a:solidFill>
                <a:srgbClr val="4472C4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3" name="Footer Placeholder 6"/>
          <p:cNvSpPr>
            <a:spLocks noGrp="1"/>
          </p:cNvSpPr>
          <p:nvPr>
            <p:ph type="ftr" sz="quarter" idx="14"/>
          </p:nvPr>
        </p:nvSpPr>
        <p:spPr>
          <a:xfrm>
            <a:off x="7663543" y="6492875"/>
            <a:ext cx="41148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100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 dirty="0">
              <a:solidFill>
                <a:srgbClr val="4472C4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38143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93539" y="393540"/>
            <a:ext cx="11394979" cy="60709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73215" y="2885395"/>
            <a:ext cx="9634271" cy="15124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>
              <a:spcBef>
                <a:spcPts val="500"/>
              </a:spcBef>
              <a:tabLst>
                <a:tab pos="4217988" algn="l"/>
              </a:tabLst>
              <a:defRPr sz="3600" b="1" i="0" spc="-100" baseline="0">
                <a:solidFill>
                  <a:schemeClr val="accent5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78164" y="2401434"/>
            <a:ext cx="9618436" cy="35265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buNone/>
              <a:defRPr sz="1600">
                <a:solidFill>
                  <a:schemeClr val="accent5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381000" y="6466114"/>
            <a:ext cx="11397343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91886" y="6481989"/>
            <a:ext cx="27432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000" baseline="0">
                <a:solidFill>
                  <a:schemeClr val="accent5">
                    <a:lumMod val="60000"/>
                    <a:lumOff val="40000"/>
                  </a:schemeClr>
                </a:solidFill>
                <a:latin typeface="Verdana Regular" charset="0"/>
              </a:defRPr>
            </a:lvl1pPr>
          </a:lstStyle>
          <a:p>
            <a:fld id="{B55780C9-1218-2442-B992-B1EF8E30C659}" type="slidenum">
              <a:rPr lang="en-US" smtClean="0">
                <a:solidFill>
                  <a:srgbClr val="3B3B3B">
                    <a:lumMod val="60000"/>
                    <a:lumOff val="40000"/>
                  </a:srgbClr>
                </a:solidFill>
              </a:rPr>
              <a:pPr/>
              <a:t>‹Nº›</a:t>
            </a:fld>
            <a:endParaRPr lang="en-US" dirty="0">
              <a:solidFill>
                <a:srgbClr val="3B3B3B">
                  <a:lumMod val="60000"/>
                  <a:lumOff val="40000"/>
                </a:srgbClr>
              </a:solidFill>
            </a:endParaRPr>
          </a:p>
        </p:txBody>
      </p:sp>
      <p:sp>
        <p:nvSpPr>
          <p:cNvPr id="27" name="Footer Placeholder 6"/>
          <p:cNvSpPr>
            <a:spLocks noGrp="1"/>
          </p:cNvSpPr>
          <p:nvPr>
            <p:ph type="ftr" sz="quarter" idx="14"/>
          </p:nvPr>
        </p:nvSpPr>
        <p:spPr>
          <a:xfrm>
            <a:off x="7663543" y="6492875"/>
            <a:ext cx="41148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100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 dirty="0">
              <a:solidFill>
                <a:srgbClr val="3B3B3B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91359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11303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Agrupar 1">
            <a:extLst>
              <a:ext uri="{FF2B5EF4-FFF2-40B4-BE49-F238E27FC236}">
                <a16:creationId xmlns:a16="http://schemas.microsoft.com/office/drawing/2014/main" id="{6E44D0EB-5113-D04D-B7B9-F27D9FD7C2F6}"/>
              </a:ext>
            </a:extLst>
          </p:cNvPr>
          <p:cNvGrpSpPr/>
          <p:nvPr userDrawn="1"/>
        </p:nvGrpSpPr>
        <p:grpSpPr>
          <a:xfrm>
            <a:off x="0" y="1366"/>
            <a:ext cx="12196099" cy="6856634"/>
            <a:chOff x="0" y="1339"/>
            <a:chExt cx="9144000" cy="5140823"/>
          </a:xfrm>
        </p:grpSpPr>
        <p:sp>
          <p:nvSpPr>
            <p:cNvPr id="23" name="Forma Livre: Forma 6310">
              <a:extLst>
                <a:ext uri="{FF2B5EF4-FFF2-40B4-BE49-F238E27FC236}">
                  <a16:creationId xmlns:a16="http://schemas.microsoft.com/office/drawing/2014/main" id="{364C2E3C-D887-5444-BB47-C8F4C81EA43A}"/>
                </a:ext>
              </a:extLst>
            </p:cNvPr>
            <p:cNvSpPr/>
            <p:nvPr userDrawn="1"/>
          </p:nvSpPr>
          <p:spPr>
            <a:xfrm>
              <a:off x="0" y="1339"/>
              <a:ext cx="9144000" cy="5140823"/>
            </a:xfrm>
            <a:custGeom>
              <a:avLst/>
              <a:gdLst>
                <a:gd name="connsiteX0" fmla="*/ 0 w 18288000"/>
                <a:gd name="connsiteY0" fmla="*/ 0 h 10281645"/>
                <a:gd name="connsiteX1" fmla="*/ 18290284 w 18288000"/>
                <a:gd name="connsiteY1" fmla="*/ 0 h 10281645"/>
                <a:gd name="connsiteX2" fmla="*/ 18290284 w 18288000"/>
                <a:gd name="connsiteY2" fmla="*/ 10281645 h 10281645"/>
                <a:gd name="connsiteX3" fmla="*/ 0 w 18288000"/>
                <a:gd name="connsiteY3" fmla="*/ 10281645 h 10281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0" h="10281645">
                  <a:moveTo>
                    <a:pt x="0" y="0"/>
                  </a:moveTo>
                  <a:lnTo>
                    <a:pt x="18290284" y="0"/>
                  </a:lnTo>
                  <a:lnTo>
                    <a:pt x="18290284" y="10281645"/>
                  </a:lnTo>
                  <a:lnTo>
                    <a:pt x="0" y="10281645"/>
                  </a:lnTo>
                  <a:close/>
                </a:path>
              </a:pathLst>
            </a:custGeom>
            <a:solidFill>
              <a:srgbClr val="1E1E1E"/>
            </a:solidFill>
            <a:ln w="95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pt-BR" sz="689" dirty="0">
                <a:solidFill>
                  <a:srgbClr val="000000"/>
                </a:solidFill>
              </a:endParaRPr>
            </a:p>
          </p:txBody>
        </p:sp>
        <p:pic>
          <p:nvPicPr>
            <p:cNvPr id="24" name="Imagem 23">
              <a:extLst>
                <a:ext uri="{FF2B5EF4-FFF2-40B4-BE49-F238E27FC236}">
                  <a16:creationId xmlns:a16="http://schemas.microsoft.com/office/drawing/2014/main" id="{0B51D8F9-5713-4B4D-B671-5DF532384B3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8278355" y="4585648"/>
              <a:ext cx="865135" cy="554308"/>
            </a:xfrm>
            <a:custGeom>
              <a:avLst/>
              <a:gdLst>
                <a:gd name="connsiteX0" fmla="*/ 0 w 4769540"/>
                <a:gd name="connsiteY0" fmla="*/ 0 h 3055933"/>
                <a:gd name="connsiteX1" fmla="*/ 4772326 w 4769540"/>
                <a:gd name="connsiteY1" fmla="*/ 0 h 3055933"/>
                <a:gd name="connsiteX2" fmla="*/ 4772326 w 4769540"/>
                <a:gd name="connsiteY2" fmla="*/ 3060008 h 3055933"/>
                <a:gd name="connsiteX3" fmla="*/ 0 w 4769540"/>
                <a:gd name="connsiteY3" fmla="*/ 3060008 h 3055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9540" h="3055933">
                  <a:moveTo>
                    <a:pt x="0" y="0"/>
                  </a:moveTo>
                  <a:lnTo>
                    <a:pt x="4772326" y="0"/>
                  </a:lnTo>
                  <a:lnTo>
                    <a:pt x="4772326" y="3060008"/>
                  </a:lnTo>
                  <a:lnTo>
                    <a:pt x="0" y="3060008"/>
                  </a:lnTo>
                  <a:close/>
                </a:path>
              </a:pathLst>
            </a:custGeom>
            <a:ln/>
          </p:spPr>
        </p:pic>
        <p:grpSp>
          <p:nvGrpSpPr>
            <p:cNvPr id="25" name="Grupo 57">
              <a:extLst>
                <a:ext uri="{FF2B5EF4-FFF2-40B4-BE49-F238E27FC236}">
                  <a16:creationId xmlns:a16="http://schemas.microsoft.com/office/drawing/2014/main" id="{1312FBD9-A679-724A-AE17-DD06CE674EEB}"/>
                </a:ext>
              </a:extLst>
            </p:cNvPr>
            <p:cNvGrpSpPr/>
            <p:nvPr userDrawn="1"/>
          </p:nvGrpSpPr>
          <p:grpSpPr>
            <a:xfrm>
              <a:off x="892268" y="1615815"/>
              <a:ext cx="546994" cy="732295"/>
              <a:chOff x="0" y="1339"/>
              <a:chExt cx="929014" cy="1134932"/>
            </a:xfrm>
          </p:grpSpPr>
          <p:sp>
            <p:nvSpPr>
              <p:cNvPr id="27" name="Forma Livre: Forma 6311">
                <a:extLst>
                  <a:ext uri="{FF2B5EF4-FFF2-40B4-BE49-F238E27FC236}">
                    <a16:creationId xmlns:a16="http://schemas.microsoft.com/office/drawing/2014/main" id="{384F6E0E-49A2-3A45-B6D3-83DE7712B925}"/>
                  </a:ext>
                </a:extLst>
              </p:cNvPr>
              <p:cNvSpPr/>
              <p:nvPr/>
            </p:nvSpPr>
            <p:spPr>
              <a:xfrm>
                <a:off x="835860" y="983950"/>
                <a:ext cx="19040" cy="152321"/>
              </a:xfrm>
              <a:custGeom>
                <a:avLst/>
                <a:gdLst>
                  <a:gd name="connsiteX0" fmla="*/ 23705 w 38080"/>
                  <a:gd name="connsiteY0" fmla="*/ 0 h 304641"/>
                  <a:gd name="connsiteX1" fmla="*/ 0 w 38080"/>
                  <a:gd name="connsiteY1" fmla="*/ 21706 h 304641"/>
                  <a:gd name="connsiteX2" fmla="*/ 0 w 38080"/>
                  <a:gd name="connsiteY2" fmla="*/ 290552 h 304641"/>
                  <a:gd name="connsiteX3" fmla="*/ 23705 w 38080"/>
                  <a:gd name="connsiteY3" fmla="*/ 312257 h 304641"/>
                  <a:gd name="connsiteX4" fmla="*/ 47410 w 38080"/>
                  <a:gd name="connsiteY4" fmla="*/ 290552 h 304641"/>
                  <a:gd name="connsiteX5" fmla="*/ 47410 w 38080"/>
                  <a:gd name="connsiteY5" fmla="*/ 21706 h 304641"/>
                  <a:gd name="connsiteX6" fmla="*/ 23705 w 38080"/>
                  <a:gd name="connsiteY6" fmla="*/ 0 h 304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8080" h="304641">
                    <a:moveTo>
                      <a:pt x="23705" y="0"/>
                    </a:moveTo>
                    <a:cubicBezTo>
                      <a:pt x="10567" y="0"/>
                      <a:pt x="0" y="9710"/>
                      <a:pt x="0" y="21706"/>
                    </a:cubicBezTo>
                    <a:lnTo>
                      <a:pt x="0" y="290552"/>
                    </a:lnTo>
                    <a:cubicBezTo>
                      <a:pt x="0" y="302547"/>
                      <a:pt x="10662" y="312257"/>
                      <a:pt x="23705" y="312257"/>
                    </a:cubicBezTo>
                    <a:cubicBezTo>
                      <a:pt x="36843" y="312257"/>
                      <a:pt x="47410" y="302547"/>
                      <a:pt x="47410" y="290552"/>
                    </a:cubicBezTo>
                    <a:lnTo>
                      <a:pt x="47410" y="21706"/>
                    </a:lnTo>
                    <a:cubicBezTo>
                      <a:pt x="47410" y="9806"/>
                      <a:pt x="36747" y="0"/>
                      <a:pt x="23705" y="0"/>
                    </a:cubicBezTo>
                    <a:close/>
                  </a:path>
                </a:pathLst>
              </a:custGeom>
              <a:solidFill>
                <a:srgbClr val="FF5000"/>
              </a:solidFill>
              <a:ln w="95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pt-BR" sz="68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" name="Forma Livre: Forma 6312">
                <a:extLst>
                  <a:ext uri="{FF2B5EF4-FFF2-40B4-BE49-F238E27FC236}">
                    <a16:creationId xmlns:a16="http://schemas.microsoft.com/office/drawing/2014/main" id="{2A7D223A-C92A-9E49-ABEB-F074E04187DC}"/>
                  </a:ext>
                </a:extLst>
              </p:cNvPr>
              <p:cNvSpPr/>
              <p:nvPr/>
            </p:nvSpPr>
            <p:spPr>
              <a:xfrm>
                <a:off x="762413" y="1051161"/>
                <a:ext cx="166601" cy="19040"/>
              </a:xfrm>
              <a:custGeom>
                <a:avLst/>
                <a:gdLst>
                  <a:gd name="connsiteX0" fmla="*/ 317398 w 333201"/>
                  <a:gd name="connsiteY0" fmla="*/ 0 h 38080"/>
                  <a:gd name="connsiteX1" fmla="*/ 23705 w 333201"/>
                  <a:gd name="connsiteY1" fmla="*/ 0 h 38080"/>
                  <a:gd name="connsiteX2" fmla="*/ 0 w 333201"/>
                  <a:gd name="connsiteY2" fmla="*/ 21706 h 38080"/>
                  <a:gd name="connsiteX3" fmla="*/ 23705 w 333201"/>
                  <a:gd name="connsiteY3" fmla="*/ 43411 h 38080"/>
                  <a:gd name="connsiteX4" fmla="*/ 317398 w 333201"/>
                  <a:gd name="connsiteY4" fmla="*/ 43411 h 38080"/>
                  <a:gd name="connsiteX5" fmla="*/ 341103 w 333201"/>
                  <a:gd name="connsiteY5" fmla="*/ 21706 h 38080"/>
                  <a:gd name="connsiteX6" fmla="*/ 317398 w 333201"/>
                  <a:gd name="connsiteY6" fmla="*/ 0 h 38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33201" h="38080">
                    <a:moveTo>
                      <a:pt x="317398" y="0"/>
                    </a:moveTo>
                    <a:lnTo>
                      <a:pt x="23705" y="0"/>
                    </a:lnTo>
                    <a:cubicBezTo>
                      <a:pt x="10567" y="0"/>
                      <a:pt x="0" y="9710"/>
                      <a:pt x="0" y="21706"/>
                    </a:cubicBezTo>
                    <a:cubicBezTo>
                      <a:pt x="0" y="33701"/>
                      <a:pt x="10662" y="43411"/>
                      <a:pt x="23705" y="43411"/>
                    </a:cubicBezTo>
                    <a:lnTo>
                      <a:pt x="317398" y="43411"/>
                    </a:lnTo>
                    <a:cubicBezTo>
                      <a:pt x="330536" y="43411"/>
                      <a:pt x="341103" y="33701"/>
                      <a:pt x="341103" y="21706"/>
                    </a:cubicBezTo>
                    <a:cubicBezTo>
                      <a:pt x="341103" y="9710"/>
                      <a:pt x="330536" y="0"/>
                      <a:pt x="317398" y="0"/>
                    </a:cubicBezTo>
                    <a:close/>
                  </a:path>
                </a:pathLst>
              </a:custGeom>
              <a:solidFill>
                <a:srgbClr val="FF5000"/>
              </a:solidFill>
              <a:ln w="95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pt-BR" sz="689" dirty="0">
                  <a:solidFill>
                    <a:srgbClr val="000000"/>
                  </a:solidFill>
                </a:endParaRPr>
              </a:p>
            </p:txBody>
          </p:sp>
          <p:pic>
            <p:nvPicPr>
              <p:cNvPr id="29" name="Imagem 28">
                <a:extLst>
                  <a:ext uri="{FF2B5EF4-FFF2-40B4-BE49-F238E27FC236}">
                    <a16:creationId xmlns:a16="http://schemas.microsoft.com/office/drawing/2014/main" id="{0322117B-1DD9-D14E-89D2-96EC072DE4A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0" y="1339"/>
                <a:ext cx="847283" cy="1090046"/>
              </a:xfrm>
              <a:custGeom>
                <a:avLst/>
                <a:gdLst>
                  <a:gd name="connsiteX0" fmla="*/ 0 w 1694567"/>
                  <a:gd name="connsiteY0" fmla="*/ 0 h 2180089"/>
                  <a:gd name="connsiteX1" fmla="*/ 1694964 w 1694567"/>
                  <a:gd name="connsiteY1" fmla="*/ 0 h 2180089"/>
                  <a:gd name="connsiteX2" fmla="*/ 1694964 w 1694567"/>
                  <a:gd name="connsiteY2" fmla="*/ 2189328 h 2180089"/>
                  <a:gd name="connsiteX3" fmla="*/ 0 w 1694567"/>
                  <a:gd name="connsiteY3" fmla="*/ 2189328 h 2180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94567" h="2180089">
                    <a:moveTo>
                      <a:pt x="0" y="0"/>
                    </a:moveTo>
                    <a:lnTo>
                      <a:pt x="1694964" y="0"/>
                    </a:lnTo>
                    <a:lnTo>
                      <a:pt x="1694964" y="2189328"/>
                    </a:lnTo>
                    <a:lnTo>
                      <a:pt x="0" y="2189328"/>
                    </a:lnTo>
                    <a:close/>
                  </a:path>
                </a:pathLst>
              </a:custGeom>
              <a:ln/>
            </p:spPr>
          </p:pic>
        </p:grpSp>
        <p:pic>
          <p:nvPicPr>
            <p:cNvPr id="30" name="Imagem 29">
              <a:extLst>
                <a:ext uri="{FF2B5EF4-FFF2-40B4-BE49-F238E27FC236}">
                  <a16:creationId xmlns:a16="http://schemas.microsoft.com/office/drawing/2014/main" id="{8113C54C-49AE-FB48-A432-E8A6AF2065D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/>
            <a:srcRect l="9435" r="7787"/>
            <a:stretch/>
          </p:blipFill>
          <p:spPr>
            <a:xfrm>
              <a:off x="6321121" y="1688256"/>
              <a:ext cx="1816769" cy="1767993"/>
            </a:xfrm>
            <a:prstGeom prst="rect">
              <a:avLst/>
            </a:prstGeom>
          </p:spPr>
        </p:pic>
      </p:grp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8230622"/>
              </p:ext>
            </p:ext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4" name="Slide do think-cell" r:id="rId6" imgW="270" imgH="270" progId="TCLayout.ActiveDocument.1">
                  <p:embed/>
                </p:oleObj>
              </mc:Choice>
              <mc:Fallback>
                <p:oleObj name="Slide do think-cell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8E20B858-09B1-4105-837A-E4AAB518048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fontAlgn="base">
              <a:spcBef>
                <a:spcPct val="0"/>
              </a:spcBef>
              <a:spcAft>
                <a:spcPct val="0"/>
              </a:spcAft>
            </a:pPr>
            <a:endParaRPr lang="en-US" sz="3265" b="0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0" name="Picture 19" hidden="1">
            <a:extLst>
              <a:ext uri="{FF2B5EF4-FFF2-40B4-BE49-F238E27FC236}">
                <a16:creationId xmlns:a16="http://schemas.microsoft.com/office/drawing/2014/main" id="{EFD88CA6-E60A-4C74-933F-F7776DF5AD1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6958" y="4369504"/>
            <a:ext cx="2357473" cy="885862"/>
          </a:xfrm>
          <a:prstGeom prst="rect">
            <a:avLst/>
          </a:prstGeom>
        </p:spPr>
      </p:pic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1089" dirty="0">
              <a:solidFill>
                <a:srgbClr val="482A06"/>
              </a:solidFill>
              <a:latin typeface="Arial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1190091" y="4935677"/>
            <a:ext cx="596181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28" dirty="0">
                <a:solidFill>
                  <a:srgbClr val="ADADAD"/>
                </a:solidFill>
                <a:latin typeface="Arial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1190091" y="6381112"/>
            <a:ext cx="5961816" cy="366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9499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16" dirty="0">
                <a:solidFill>
                  <a:srgbClr val="FFFFFF"/>
                </a:solidFill>
              </a:rPr>
              <a:t>CONFIDENTIAL AND PROPRIETARY</a:t>
            </a:r>
          </a:p>
          <a:p>
            <a:pPr defTabSz="109499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16" dirty="0">
                <a:solidFill>
                  <a:srgbClr val="FFFFFF"/>
                </a:solidFill>
              </a:rPr>
              <a:t>Any use of this material without specific permission is strictly prohibi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1190091" y="3319744"/>
            <a:ext cx="5961816" cy="502445"/>
          </a:xfrm>
          <a:prstGeom prst="rect">
            <a:avLst/>
          </a:prstGeom>
        </p:spPr>
        <p:txBody>
          <a:bodyPr/>
          <a:lstStyle>
            <a:lvl1pPr>
              <a:defRPr sz="3265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1190091" y="4609393"/>
            <a:ext cx="5961816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2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grpSp>
        <p:nvGrpSpPr>
          <p:cNvPr id="15" name="LogoImage" hidden="1">
            <a:extLst>
              <a:ext uri="{FF2B5EF4-FFF2-40B4-BE49-F238E27FC236}">
                <a16:creationId xmlns:a16="http://schemas.microsoft.com/office/drawing/2014/main" id="{EAB2229D-6370-488C-937F-1A93CFBD709A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3090573" y="263459"/>
            <a:ext cx="1741648" cy="553873"/>
            <a:chOff x="0" y="973"/>
            <a:chExt cx="7680" cy="2374"/>
          </a:xfrm>
        </p:grpSpPr>
        <p:sp>
          <p:nvSpPr>
            <p:cNvPr id="16" name="AutoShape 3" hidden="1">
              <a:extLst>
                <a:ext uri="{FF2B5EF4-FFF2-40B4-BE49-F238E27FC236}">
                  <a16:creationId xmlns:a16="http://schemas.microsoft.com/office/drawing/2014/main" id="{8E86CEE8-2C1E-45F7-BFA1-BEDA55D35732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5" hidden="1">
              <a:extLst>
                <a:ext uri="{FF2B5EF4-FFF2-40B4-BE49-F238E27FC236}">
                  <a16:creationId xmlns:a16="http://schemas.microsoft.com/office/drawing/2014/main" id="{EB2102CC-8FC1-437F-921D-FAB1EA6588E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</p:grpSp>
      <p:sp>
        <p:nvSpPr>
          <p:cNvPr id="9" name="SlideLogoText" hidden="1">
            <a:extLst>
              <a:ext uri="{FF2B5EF4-FFF2-40B4-BE49-F238E27FC236}">
                <a16:creationId xmlns:a16="http://schemas.microsoft.com/office/drawing/2014/main" id="{043C28F7-1C9D-481F-9348-AB1CBD915891}"/>
              </a:ext>
            </a:extLst>
          </p:cNvPr>
          <p:cNvSpPr txBox="1"/>
          <p:nvPr userDrawn="1"/>
        </p:nvSpPr>
        <p:spPr>
          <a:xfrm>
            <a:off x="10490964" y="6641683"/>
            <a:ext cx="1050047" cy="128097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816" dirty="0">
                <a:solidFill>
                  <a:srgbClr val="808080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3095138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Agrupar 1">
            <a:extLst>
              <a:ext uri="{FF2B5EF4-FFF2-40B4-BE49-F238E27FC236}">
                <a16:creationId xmlns:a16="http://schemas.microsoft.com/office/drawing/2014/main" id="{6E44D0EB-5113-D04D-B7B9-F27D9FD7C2F6}"/>
              </a:ext>
            </a:extLst>
          </p:cNvPr>
          <p:cNvGrpSpPr/>
          <p:nvPr userDrawn="1"/>
        </p:nvGrpSpPr>
        <p:grpSpPr>
          <a:xfrm>
            <a:off x="0" y="1366"/>
            <a:ext cx="12196099" cy="6856634"/>
            <a:chOff x="0" y="1339"/>
            <a:chExt cx="9144000" cy="5140823"/>
          </a:xfrm>
        </p:grpSpPr>
        <p:sp>
          <p:nvSpPr>
            <p:cNvPr id="23" name="Forma Livre: Forma 6310">
              <a:extLst>
                <a:ext uri="{FF2B5EF4-FFF2-40B4-BE49-F238E27FC236}">
                  <a16:creationId xmlns:a16="http://schemas.microsoft.com/office/drawing/2014/main" id="{364C2E3C-D887-5444-BB47-C8F4C81EA43A}"/>
                </a:ext>
              </a:extLst>
            </p:cNvPr>
            <p:cNvSpPr/>
            <p:nvPr userDrawn="1"/>
          </p:nvSpPr>
          <p:spPr>
            <a:xfrm>
              <a:off x="0" y="1339"/>
              <a:ext cx="9144000" cy="5140823"/>
            </a:xfrm>
            <a:custGeom>
              <a:avLst/>
              <a:gdLst>
                <a:gd name="connsiteX0" fmla="*/ 0 w 18288000"/>
                <a:gd name="connsiteY0" fmla="*/ 0 h 10281645"/>
                <a:gd name="connsiteX1" fmla="*/ 18290284 w 18288000"/>
                <a:gd name="connsiteY1" fmla="*/ 0 h 10281645"/>
                <a:gd name="connsiteX2" fmla="*/ 18290284 w 18288000"/>
                <a:gd name="connsiteY2" fmla="*/ 10281645 h 10281645"/>
                <a:gd name="connsiteX3" fmla="*/ 0 w 18288000"/>
                <a:gd name="connsiteY3" fmla="*/ 10281645 h 10281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0" h="10281645">
                  <a:moveTo>
                    <a:pt x="0" y="0"/>
                  </a:moveTo>
                  <a:lnTo>
                    <a:pt x="18290284" y="0"/>
                  </a:lnTo>
                  <a:lnTo>
                    <a:pt x="18290284" y="10281645"/>
                  </a:lnTo>
                  <a:lnTo>
                    <a:pt x="0" y="10281645"/>
                  </a:lnTo>
                  <a:close/>
                </a:path>
              </a:pathLst>
            </a:custGeom>
            <a:solidFill>
              <a:srgbClr val="1E1E1E"/>
            </a:solidFill>
            <a:ln w="95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pt-BR" sz="689" dirty="0">
                <a:solidFill>
                  <a:srgbClr val="000000"/>
                </a:solidFill>
              </a:endParaRPr>
            </a:p>
          </p:txBody>
        </p:sp>
        <p:pic>
          <p:nvPicPr>
            <p:cNvPr id="24" name="Imagem 23">
              <a:extLst>
                <a:ext uri="{FF2B5EF4-FFF2-40B4-BE49-F238E27FC236}">
                  <a16:creationId xmlns:a16="http://schemas.microsoft.com/office/drawing/2014/main" id="{0B51D8F9-5713-4B4D-B671-5DF532384B3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8278355" y="4585648"/>
              <a:ext cx="865135" cy="554308"/>
            </a:xfrm>
            <a:custGeom>
              <a:avLst/>
              <a:gdLst>
                <a:gd name="connsiteX0" fmla="*/ 0 w 4769540"/>
                <a:gd name="connsiteY0" fmla="*/ 0 h 3055933"/>
                <a:gd name="connsiteX1" fmla="*/ 4772326 w 4769540"/>
                <a:gd name="connsiteY1" fmla="*/ 0 h 3055933"/>
                <a:gd name="connsiteX2" fmla="*/ 4772326 w 4769540"/>
                <a:gd name="connsiteY2" fmla="*/ 3060008 h 3055933"/>
                <a:gd name="connsiteX3" fmla="*/ 0 w 4769540"/>
                <a:gd name="connsiteY3" fmla="*/ 3060008 h 3055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9540" h="3055933">
                  <a:moveTo>
                    <a:pt x="0" y="0"/>
                  </a:moveTo>
                  <a:lnTo>
                    <a:pt x="4772326" y="0"/>
                  </a:lnTo>
                  <a:lnTo>
                    <a:pt x="4772326" y="3060008"/>
                  </a:lnTo>
                  <a:lnTo>
                    <a:pt x="0" y="3060008"/>
                  </a:lnTo>
                  <a:close/>
                </a:path>
              </a:pathLst>
            </a:custGeom>
            <a:ln/>
          </p:spPr>
        </p:pic>
        <p:grpSp>
          <p:nvGrpSpPr>
            <p:cNvPr id="25" name="Grupo 57">
              <a:extLst>
                <a:ext uri="{FF2B5EF4-FFF2-40B4-BE49-F238E27FC236}">
                  <a16:creationId xmlns:a16="http://schemas.microsoft.com/office/drawing/2014/main" id="{1312FBD9-A679-724A-AE17-DD06CE674EEB}"/>
                </a:ext>
              </a:extLst>
            </p:cNvPr>
            <p:cNvGrpSpPr/>
            <p:nvPr userDrawn="1"/>
          </p:nvGrpSpPr>
          <p:grpSpPr>
            <a:xfrm>
              <a:off x="892268" y="1615815"/>
              <a:ext cx="546994" cy="732295"/>
              <a:chOff x="0" y="1339"/>
              <a:chExt cx="929014" cy="1134932"/>
            </a:xfrm>
          </p:grpSpPr>
          <p:sp>
            <p:nvSpPr>
              <p:cNvPr id="27" name="Forma Livre: Forma 6311">
                <a:extLst>
                  <a:ext uri="{FF2B5EF4-FFF2-40B4-BE49-F238E27FC236}">
                    <a16:creationId xmlns:a16="http://schemas.microsoft.com/office/drawing/2014/main" id="{384F6E0E-49A2-3A45-B6D3-83DE7712B925}"/>
                  </a:ext>
                </a:extLst>
              </p:cNvPr>
              <p:cNvSpPr/>
              <p:nvPr/>
            </p:nvSpPr>
            <p:spPr>
              <a:xfrm>
                <a:off x="835860" y="983950"/>
                <a:ext cx="19040" cy="152321"/>
              </a:xfrm>
              <a:custGeom>
                <a:avLst/>
                <a:gdLst>
                  <a:gd name="connsiteX0" fmla="*/ 23705 w 38080"/>
                  <a:gd name="connsiteY0" fmla="*/ 0 h 304641"/>
                  <a:gd name="connsiteX1" fmla="*/ 0 w 38080"/>
                  <a:gd name="connsiteY1" fmla="*/ 21706 h 304641"/>
                  <a:gd name="connsiteX2" fmla="*/ 0 w 38080"/>
                  <a:gd name="connsiteY2" fmla="*/ 290552 h 304641"/>
                  <a:gd name="connsiteX3" fmla="*/ 23705 w 38080"/>
                  <a:gd name="connsiteY3" fmla="*/ 312257 h 304641"/>
                  <a:gd name="connsiteX4" fmla="*/ 47410 w 38080"/>
                  <a:gd name="connsiteY4" fmla="*/ 290552 h 304641"/>
                  <a:gd name="connsiteX5" fmla="*/ 47410 w 38080"/>
                  <a:gd name="connsiteY5" fmla="*/ 21706 h 304641"/>
                  <a:gd name="connsiteX6" fmla="*/ 23705 w 38080"/>
                  <a:gd name="connsiteY6" fmla="*/ 0 h 304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8080" h="304641">
                    <a:moveTo>
                      <a:pt x="23705" y="0"/>
                    </a:moveTo>
                    <a:cubicBezTo>
                      <a:pt x="10567" y="0"/>
                      <a:pt x="0" y="9710"/>
                      <a:pt x="0" y="21706"/>
                    </a:cubicBezTo>
                    <a:lnTo>
                      <a:pt x="0" y="290552"/>
                    </a:lnTo>
                    <a:cubicBezTo>
                      <a:pt x="0" y="302547"/>
                      <a:pt x="10662" y="312257"/>
                      <a:pt x="23705" y="312257"/>
                    </a:cubicBezTo>
                    <a:cubicBezTo>
                      <a:pt x="36843" y="312257"/>
                      <a:pt x="47410" y="302547"/>
                      <a:pt x="47410" y="290552"/>
                    </a:cubicBezTo>
                    <a:lnTo>
                      <a:pt x="47410" y="21706"/>
                    </a:lnTo>
                    <a:cubicBezTo>
                      <a:pt x="47410" y="9806"/>
                      <a:pt x="36747" y="0"/>
                      <a:pt x="23705" y="0"/>
                    </a:cubicBezTo>
                    <a:close/>
                  </a:path>
                </a:pathLst>
              </a:custGeom>
              <a:solidFill>
                <a:srgbClr val="FF5000"/>
              </a:solidFill>
              <a:ln w="95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pt-BR" sz="68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" name="Forma Livre: Forma 6312">
                <a:extLst>
                  <a:ext uri="{FF2B5EF4-FFF2-40B4-BE49-F238E27FC236}">
                    <a16:creationId xmlns:a16="http://schemas.microsoft.com/office/drawing/2014/main" id="{2A7D223A-C92A-9E49-ABEB-F074E04187DC}"/>
                  </a:ext>
                </a:extLst>
              </p:cNvPr>
              <p:cNvSpPr/>
              <p:nvPr/>
            </p:nvSpPr>
            <p:spPr>
              <a:xfrm>
                <a:off x="762413" y="1051161"/>
                <a:ext cx="166601" cy="19040"/>
              </a:xfrm>
              <a:custGeom>
                <a:avLst/>
                <a:gdLst>
                  <a:gd name="connsiteX0" fmla="*/ 317398 w 333201"/>
                  <a:gd name="connsiteY0" fmla="*/ 0 h 38080"/>
                  <a:gd name="connsiteX1" fmla="*/ 23705 w 333201"/>
                  <a:gd name="connsiteY1" fmla="*/ 0 h 38080"/>
                  <a:gd name="connsiteX2" fmla="*/ 0 w 333201"/>
                  <a:gd name="connsiteY2" fmla="*/ 21706 h 38080"/>
                  <a:gd name="connsiteX3" fmla="*/ 23705 w 333201"/>
                  <a:gd name="connsiteY3" fmla="*/ 43411 h 38080"/>
                  <a:gd name="connsiteX4" fmla="*/ 317398 w 333201"/>
                  <a:gd name="connsiteY4" fmla="*/ 43411 h 38080"/>
                  <a:gd name="connsiteX5" fmla="*/ 341103 w 333201"/>
                  <a:gd name="connsiteY5" fmla="*/ 21706 h 38080"/>
                  <a:gd name="connsiteX6" fmla="*/ 317398 w 333201"/>
                  <a:gd name="connsiteY6" fmla="*/ 0 h 38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33201" h="38080">
                    <a:moveTo>
                      <a:pt x="317398" y="0"/>
                    </a:moveTo>
                    <a:lnTo>
                      <a:pt x="23705" y="0"/>
                    </a:lnTo>
                    <a:cubicBezTo>
                      <a:pt x="10567" y="0"/>
                      <a:pt x="0" y="9710"/>
                      <a:pt x="0" y="21706"/>
                    </a:cubicBezTo>
                    <a:cubicBezTo>
                      <a:pt x="0" y="33701"/>
                      <a:pt x="10662" y="43411"/>
                      <a:pt x="23705" y="43411"/>
                    </a:cubicBezTo>
                    <a:lnTo>
                      <a:pt x="317398" y="43411"/>
                    </a:lnTo>
                    <a:cubicBezTo>
                      <a:pt x="330536" y="43411"/>
                      <a:pt x="341103" y="33701"/>
                      <a:pt x="341103" y="21706"/>
                    </a:cubicBezTo>
                    <a:cubicBezTo>
                      <a:pt x="341103" y="9710"/>
                      <a:pt x="330536" y="0"/>
                      <a:pt x="317398" y="0"/>
                    </a:cubicBezTo>
                    <a:close/>
                  </a:path>
                </a:pathLst>
              </a:custGeom>
              <a:solidFill>
                <a:srgbClr val="FF5000"/>
              </a:solidFill>
              <a:ln w="95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pt-BR" sz="689" dirty="0">
                  <a:solidFill>
                    <a:srgbClr val="000000"/>
                  </a:solidFill>
                </a:endParaRPr>
              </a:p>
            </p:txBody>
          </p:sp>
          <p:pic>
            <p:nvPicPr>
              <p:cNvPr id="29" name="Imagem 28">
                <a:extLst>
                  <a:ext uri="{FF2B5EF4-FFF2-40B4-BE49-F238E27FC236}">
                    <a16:creationId xmlns:a16="http://schemas.microsoft.com/office/drawing/2014/main" id="{0322117B-1DD9-D14E-89D2-96EC072DE4A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0" y="1339"/>
                <a:ext cx="847283" cy="1090046"/>
              </a:xfrm>
              <a:custGeom>
                <a:avLst/>
                <a:gdLst>
                  <a:gd name="connsiteX0" fmla="*/ 0 w 1694567"/>
                  <a:gd name="connsiteY0" fmla="*/ 0 h 2180089"/>
                  <a:gd name="connsiteX1" fmla="*/ 1694964 w 1694567"/>
                  <a:gd name="connsiteY1" fmla="*/ 0 h 2180089"/>
                  <a:gd name="connsiteX2" fmla="*/ 1694964 w 1694567"/>
                  <a:gd name="connsiteY2" fmla="*/ 2189328 h 2180089"/>
                  <a:gd name="connsiteX3" fmla="*/ 0 w 1694567"/>
                  <a:gd name="connsiteY3" fmla="*/ 2189328 h 2180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94567" h="2180089">
                    <a:moveTo>
                      <a:pt x="0" y="0"/>
                    </a:moveTo>
                    <a:lnTo>
                      <a:pt x="1694964" y="0"/>
                    </a:lnTo>
                    <a:lnTo>
                      <a:pt x="1694964" y="2189328"/>
                    </a:lnTo>
                    <a:lnTo>
                      <a:pt x="0" y="2189328"/>
                    </a:lnTo>
                    <a:close/>
                  </a:path>
                </a:pathLst>
              </a:custGeom>
              <a:ln/>
            </p:spPr>
          </p:pic>
        </p:grpSp>
        <p:pic>
          <p:nvPicPr>
            <p:cNvPr id="30" name="Imagem 29">
              <a:extLst>
                <a:ext uri="{FF2B5EF4-FFF2-40B4-BE49-F238E27FC236}">
                  <a16:creationId xmlns:a16="http://schemas.microsoft.com/office/drawing/2014/main" id="{8113C54C-49AE-FB48-A432-E8A6AF2065D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/>
            <a:srcRect l="9435" r="7787"/>
            <a:stretch/>
          </p:blipFill>
          <p:spPr>
            <a:xfrm>
              <a:off x="6321121" y="1688256"/>
              <a:ext cx="1816769" cy="1767993"/>
            </a:xfrm>
            <a:prstGeom prst="rect">
              <a:avLst/>
            </a:prstGeom>
          </p:spPr>
        </p:pic>
      </p:grp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8" name="Slide do think-cell" r:id="rId6" imgW="270" imgH="270" progId="TCLayout.ActiveDocument.1">
                  <p:embed/>
                </p:oleObj>
              </mc:Choice>
              <mc:Fallback>
                <p:oleObj name="Slide do think-cell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8E20B858-09B1-4105-837A-E4AAB518048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265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pic>
        <p:nvPicPr>
          <p:cNvPr id="20" name="Picture 19" hidden="1">
            <a:extLst>
              <a:ext uri="{FF2B5EF4-FFF2-40B4-BE49-F238E27FC236}">
                <a16:creationId xmlns:a16="http://schemas.microsoft.com/office/drawing/2014/main" id="{EFD88CA6-E60A-4C74-933F-F7776DF5AD1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6958" y="4369504"/>
            <a:ext cx="2357473" cy="885862"/>
          </a:xfrm>
          <a:prstGeom prst="rect">
            <a:avLst/>
          </a:prstGeom>
        </p:spPr>
      </p:pic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1089" dirty="0">
              <a:solidFill>
                <a:srgbClr val="482A06"/>
              </a:solidFill>
              <a:latin typeface="Arial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1190091" y="4935677"/>
            <a:ext cx="596181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28" dirty="0">
                <a:solidFill>
                  <a:srgbClr val="ADADAD"/>
                </a:solidFill>
                <a:latin typeface="Arial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1190091" y="6381112"/>
            <a:ext cx="5961816" cy="366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9499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16" dirty="0">
                <a:solidFill>
                  <a:srgbClr val="FFFFFF"/>
                </a:solidFill>
              </a:rPr>
              <a:t>CONFIDENTIAL AND PROPRIETARY</a:t>
            </a:r>
          </a:p>
          <a:p>
            <a:pPr defTabSz="109499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16" dirty="0">
                <a:solidFill>
                  <a:srgbClr val="FFFFFF"/>
                </a:solidFill>
              </a:rPr>
              <a:t>Any use of this material without specific permission is strictly prohibi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1190091" y="3319744"/>
            <a:ext cx="5961816" cy="502445"/>
          </a:xfrm>
          <a:prstGeom prst="rect">
            <a:avLst/>
          </a:prstGeom>
        </p:spPr>
        <p:txBody>
          <a:bodyPr/>
          <a:lstStyle>
            <a:lvl1pPr>
              <a:defRPr sz="3265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1190091" y="4609393"/>
            <a:ext cx="5961816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2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grpSp>
        <p:nvGrpSpPr>
          <p:cNvPr id="15" name="LogoImage" hidden="1">
            <a:extLst>
              <a:ext uri="{FF2B5EF4-FFF2-40B4-BE49-F238E27FC236}">
                <a16:creationId xmlns:a16="http://schemas.microsoft.com/office/drawing/2014/main" id="{EAB2229D-6370-488C-937F-1A93CFBD709A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3090573" y="263459"/>
            <a:ext cx="1741648" cy="553873"/>
            <a:chOff x="0" y="973"/>
            <a:chExt cx="7680" cy="2374"/>
          </a:xfrm>
        </p:grpSpPr>
        <p:sp>
          <p:nvSpPr>
            <p:cNvPr id="16" name="AutoShape 3" hidden="1">
              <a:extLst>
                <a:ext uri="{FF2B5EF4-FFF2-40B4-BE49-F238E27FC236}">
                  <a16:creationId xmlns:a16="http://schemas.microsoft.com/office/drawing/2014/main" id="{8E86CEE8-2C1E-45F7-BFA1-BEDA55D35732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5" hidden="1">
              <a:extLst>
                <a:ext uri="{FF2B5EF4-FFF2-40B4-BE49-F238E27FC236}">
                  <a16:creationId xmlns:a16="http://schemas.microsoft.com/office/drawing/2014/main" id="{EB2102CC-8FC1-437F-921D-FAB1EA6588E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</p:grpSp>
      <p:sp>
        <p:nvSpPr>
          <p:cNvPr id="9" name="SlideLogoText" hidden="1">
            <a:extLst>
              <a:ext uri="{FF2B5EF4-FFF2-40B4-BE49-F238E27FC236}">
                <a16:creationId xmlns:a16="http://schemas.microsoft.com/office/drawing/2014/main" id="{043C28F7-1C9D-481F-9348-AB1CBD915891}"/>
              </a:ext>
            </a:extLst>
          </p:cNvPr>
          <p:cNvSpPr txBox="1"/>
          <p:nvPr userDrawn="1"/>
        </p:nvSpPr>
        <p:spPr>
          <a:xfrm>
            <a:off x="10490964" y="6641683"/>
            <a:ext cx="1050047" cy="128097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816" dirty="0">
                <a:solidFill>
                  <a:srgbClr val="808080"/>
                </a:solidFill>
              </a:rPr>
              <a:t>McKinsey &amp; Company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FAEAF10-6727-43CD-964D-541777FE2EF2}"/>
              </a:ext>
            </a:extLst>
          </p:cNvPr>
          <p:cNvSpPr txBox="1"/>
          <p:nvPr userDrawn="1"/>
        </p:nvSpPr>
        <p:spPr>
          <a:xfrm>
            <a:off x="8719217" y="6566446"/>
            <a:ext cx="21299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BE09578-E844-44CA-BD6F-6CD1948E7D7B}" type="slidenum">
              <a:rPr lang="pt-BR" sz="102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pt-BR" sz="102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13923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orma Livre: Forma 6310">
            <a:extLst>
              <a:ext uri="{FF2B5EF4-FFF2-40B4-BE49-F238E27FC236}">
                <a16:creationId xmlns:a16="http://schemas.microsoft.com/office/drawing/2014/main" id="{364C2E3C-D887-5444-BB47-C8F4C81EA43A}"/>
              </a:ext>
            </a:extLst>
          </p:cNvPr>
          <p:cNvSpPr/>
          <p:nvPr userDrawn="1"/>
        </p:nvSpPr>
        <p:spPr>
          <a:xfrm>
            <a:off x="0" y="1366"/>
            <a:ext cx="12196099" cy="6856634"/>
          </a:xfrm>
          <a:custGeom>
            <a:avLst/>
            <a:gdLst>
              <a:gd name="connsiteX0" fmla="*/ 0 w 18288000"/>
              <a:gd name="connsiteY0" fmla="*/ 0 h 10281645"/>
              <a:gd name="connsiteX1" fmla="*/ 18290284 w 18288000"/>
              <a:gd name="connsiteY1" fmla="*/ 0 h 10281645"/>
              <a:gd name="connsiteX2" fmla="*/ 18290284 w 18288000"/>
              <a:gd name="connsiteY2" fmla="*/ 10281645 h 10281645"/>
              <a:gd name="connsiteX3" fmla="*/ 0 w 18288000"/>
              <a:gd name="connsiteY3" fmla="*/ 10281645 h 102816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288000" h="10281645">
                <a:moveTo>
                  <a:pt x="0" y="0"/>
                </a:moveTo>
                <a:lnTo>
                  <a:pt x="18290284" y="0"/>
                </a:lnTo>
                <a:lnTo>
                  <a:pt x="18290284" y="10281645"/>
                </a:lnTo>
                <a:lnTo>
                  <a:pt x="0" y="10281645"/>
                </a:lnTo>
                <a:close/>
              </a:path>
            </a:pathLst>
          </a:custGeom>
          <a:solidFill>
            <a:srgbClr val="1E1E1E"/>
          </a:solidFill>
          <a:ln w="9520" cap="flat">
            <a:noFill/>
            <a:prstDash val="solid"/>
            <a:miter/>
          </a:ln>
        </p:spPr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pt-BR" sz="689" dirty="0">
              <a:solidFill>
                <a:srgbClr val="000000"/>
              </a:solidFill>
            </a:endParaRPr>
          </a:p>
        </p:txBody>
      </p:sp>
      <p:pic>
        <p:nvPicPr>
          <p:cNvPr id="24" name="Imagem 23">
            <a:extLst>
              <a:ext uri="{FF2B5EF4-FFF2-40B4-BE49-F238E27FC236}">
                <a16:creationId xmlns:a16="http://schemas.microsoft.com/office/drawing/2014/main" id="{0B51D8F9-5713-4B4D-B671-5DF532384B3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041518" y="6115743"/>
            <a:ext cx="1153901" cy="739315"/>
          </a:xfrm>
          <a:custGeom>
            <a:avLst/>
            <a:gdLst>
              <a:gd name="connsiteX0" fmla="*/ 0 w 4769540"/>
              <a:gd name="connsiteY0" fmla="*/ 0 h 3055933"/>
              <a:gd name="connsiteX1" fmla="*/ 4772326 w 4769540"/>
              <a:gd name="connsiteY1" fmla="*/ 0 h 3055933"/>
              <a:gd name="connsiteX2" fmla="*/ 4772326 w 4769540"/>
              <a:gd name="connsiteY2" fmla="*/ 3060008 h 3055933"/>
              <a:gd name="connsiteX3" fmla="*/ 0 w 4769540"/>
              <a:gd name="connsiteY3" fmla="*/ 3060008 h 3055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69540" h="3055933">
                <a:moveTo>
                  <a:pt x="0" y="0"/>
                </a:moveTo>
                <a:lnTo>
                  <a:pt x="4772326" y="0"/>
                </a:lnTo>
                <a:lnTo>
                  <a:pt x="4772326" y="3060008"/>
                </a:lnTo>
                <a:lnTo>
                  <a:pt x="0" y="3060008"/>
                </a:lnTo>
                <a:close/>
              </a:path>
            </a:pathLst>
          </a:custGeom>
          <a:ln/>
        </p:spPr>
      </p:pic>
      <p:grpSp>
        <p:nvGrpSpPr>
          <p:cNvPr id="25" name="Grupo 57">
            <a:extLst>
              <a:ext uri="{FF2B5EF4-FFF2-40B4-BE49-F238E27FC236}">
                <a16:creationId xmlns:a16="http://schemas.microsoft.com/office/drawing/2014/main" id="{1312FBD9-A679-724A-AE17-DD06CE674EEB}"/>
              </a:ext>
            </a:extLst>
          </p:cNvPr>
          <p:cNvGrpSpPr/>
          <p:nvPr userDrawn="1"/>
        </p:nvGrpSpPr>
        <p:grpSpPr>
          <a:xfrm>
            <a:off x="1190091" y="2154693"/>
            <a:ext cx="729570" cy="976707"/>
            <a:chOff x="0" y="1339"/>
            <a:chExt cx="929014" cy="1134932"/>
          </a:xfrm>
        </p:grpSpPr>
        <p:sp>
          <p:nvSpPr>
            <p:cNvPr id="27" name="Forma Livre: Forma 6311">
              <a:extLst>
                <a:ext uri="{FF2B5EF4-FFF2-40B4-BE49-F238E27FC236}">
                  <a16:creationId xmlns:a16="http://schemas.microsoft.com/office/drawing/2014/main" id="{384F6E0E-49A2-3A45-B6D3-83DE7712B925}"/>
                </a:ext>
              </a:extLst>
            </p:cNvPr>
            <p:cNvSpPr/>
            <p:nvPr/>
          </p:nvSpPr>
          <p:spPr>
            <a:xfrm>
              <a:off x="835860" y="983950"/>
              <a:ext cx="19040" cy="152321"/>
            </a:xfrm>
            <a:custGeom>
              <a:avLst/>
              <a:gdLst>
                <a:gd name="connsiteX0" fmla="*/ 23705 w 38080"/>
                <a:gd name="connsiteY0" fmla="*/ 0 h 304641"/>
                <a:gd name="connsiteX1" fmla="*/ 0 w 38080"/>
                <a:gd name="connsiteY1" fmla="*/ 21706 h 304641"/>
                <a:gd name="connsiteX2" fmla="*/ 0 w 38080"/>
                <a:gd name="connsiteY2" fmla="*/ 290552 h 304641"/>
                <a:gd name="connsiteX3" fmla="*/ 23705 w 38080"/>
                <a:gd name="connsiteY3" fmla="*/ 312257 h 304641"/>
                <a:gd name="connsiteX4" fmla="*/ 47410 w 38080"/>
                <a:gd name="connsiteY4" fmla="*/ 290552 h 304641"/>
                <a:gd name="connsiteX5" fmla="*/ 47410 w 38080"/>
                <a:gd name="connsiteY5" fmla="*/ 21706 h 304641"/>
                <a:gd name="connsiteX6" fmla="*/ 23705 w 38080"/>
                <a:gd name="connsiteY6" fmla="*/ 0 h 304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080" h="304641">
                  <a:moveTo>
                    <a:pt x="23705" y="0"/>
                  </a:moveTo>
                  <a:cubicBezTo>
                    <a:pt x="10567" y="0"/>
                    <a:pt x="0" y="9710"/>
                    <a:pt x="0" y="21706"/>
                  </a:cubicBezTo>
                  <a:lnTo>
                    <a:pt x="0" y="290552"/>
                  </a:lnTo>
                  <a:cubicBezTo>
                    <a:pt x="0" y="302547"/>
                    <a:pt x="10662" y="312257"/>
                    <a:pt x="23705" y="312257"/>
                  </a:cubicBezTo>
                  <a:cubicBezTo>
                    <a:pt x="36843" y="312257"/>
                    <a:pt x="47410" y="302547"/>
                    <a:pt x="47410" y="290552"/>
                  </a:cubicBezTo>
                  <a:lnTo>
                    <a:pt x="47410" y="21706"/>
                  </a:lnTo>
                  <a:cubicBezTo>
                    <a:pt x="47410" y="9806"/>
                    <a:pt x="36747" y="0"/>
                    <a:pt x="23705" y="0"/>
                  </a:cubicBezTo>
                  <a:close/>
                </a:path>
              </a:pathLst>
            </a:custGeom>
            <a:solidFill>
              <a:srgbClr val="FF5000"/>
            </a:solidFill>
            <a:ln w="95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pt-BR" sz="689" dirty="0">
                <a:solidFill>
                  <a:srgbClr val="000000"/>
                </a:solidFill>
              </a:endParaRPr>
            </a:p>
          </p:txBody>
        </p:sp>
        <p:sp>
          <p:nvSpPr>
            <p:cNvPr id="28" name="Forma Livre: Forma 6312">
              <a:extLst>
                <a:ext uri="{FF2B5EF4-FFF2-40B4-BE49-F238E27FC236}">
                  <a16:creationId xmlns:a16="http://schemas.microsoft.com/office/drawing/2014/main" id="{2A7D223A-C92A-9E49-ABEB-F074E04187DC}"/>
                </a:ext>
              </a:extLst>
            </p:cNvPr>
            <p:cNvSpPr/>
            <p:nvPr/>
          </p:nvSpPr>
          <p:spPr>
            <a:xfrm>
              <a:off x="762413" y="1051161"/>
              <a:ext cx="166601" cy="19040"/>
            </a:xfrm>
            <a:custGeom>
              <a:avLst/>
              <a:gdLst>
                <a:gd name="connsiteX0" fmla="*/ 317398 w 333201"/>
                <a:gd name="connsiteY0" fmla="*/ 0 h 38080"/>
                <a:gd name="connsiteX1" fmla="*/ 23705 w 333201"/>
                <a:gd name="connsiteY1" fmla="*/ 0 h 38080"/>
                <a:gd name="connsiteX2" fmla="*/ 0 w 333201"/>
                <a:gd name="connsiteY2" fmla="*/ 21706 h 38080"/>
                <a:gd name="connsiteX3" fmla="*/ 23705 w 333201"/>
                <a:gd name="connsiteY3" fmla="*/ 43411 h 38080"/>
                <a:gd name="connsiteX4" fmla="*/ 317398 w 333201"/>
                <a:gd name="connsiteY4" fmla="*/ 43411 h 38080"/>
                <a:gd name="connsiteX5" fmla="*/ 341103 w 333201"/>
                <a:gd name="connsiteY5" fmla="*/ 21706 h 38080"/>
                <a:gd name="connsiteX6" fmla="*/ 317398 w 333201"/>
                <a:gd name="connsiteY6" fmla="*/ 0 h 38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201" h="38080">
                  <a:moveTo>
                    <a:pt x="317398" y="0"/>
                  </a:moveTo>
                  <a:lnTo>
                    <a:pt x="23705" y="0"/>
                  </a:lnTo>
                  <a:cubicBezTo>
                    <a:pt x="10567" y="0"/>
                    <a:pt x="0" y="9710"/>
                    <a:pt x="0" y="21706"/>
                  </a:cubicBezTo>
                  <a:cubicBezTo>
                    <a:pt x="0" y="33701"/>
                    <a:pt x="10662" y="43411"/>
                    <a:pt x="23705" y="43411"/>
                  </a:cubicBezTo>
                  <a:lnTo>
                    <a:pt x="317398" y="43411"/>
                  </a:lnTo>
                  <a:cubicBezTo>
                    <a:pt x="330536" y="43411"/>
                    <a:pt x="341103" y="33701"/>
                    <a:pt x="341103" y="21706"/>
                  </a:cubicBezTo>
                  <a:cubicBezTo>
                    <a:pt x="341103" y="9710"/>
                    <a:pt x="330536" y="0"/>
                    <a:pt x="317398" y="0"/>
                  </a:cubicBezTo>
                  <a:close/>
                </a:path>
              </a:pathLst>
            </a:custGeom>
            <a:solidFill>
              <a:srgbClr val="FF5000"/>
            </a:solidFill>
            <a:ln w="95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pt-BR" sz="689" dirty="0">
                <a:solidFill>
                  <a:srgbClr val="000000"/>
                </a:solidFill>
              </a:endParaRPr>
            </a:p>
          </p:txBody>
        </p:sp>
        <p:pic>
          <p:nvPicPr>
            <p:cNvPr id="29" name="Imagem 28">
              <a:extLst>
                <a:ext uri="{FF2B5EF4-FFF2-40B4-BE49-F238E27FC236}">
                  <a16:creationId xmlns:a16="http://schemas.microsoft.com/office/drawing/2014/main" id="{0322117B-1DD9-D14E-89D2-96EC072DE4A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0" y="1339"/>
              <a:ext cx="847283" cy="1090046"/>
            </a:xfrm>
            <a:custGeom>
              <a:avLst/>
              <a:gdLst>
                <a:gd name="connsiteX0" fmla="*/ 0 w 1694567"/>
                <a:gd name="connsiteY0" fmla="*/ 0 h 2180089"/>
                <a:gd name="connsiteX1" fmla="*/ 1694964 w 1694567"/>
                <a:gd name="connsiteY1" fmla="*/ 0 h 2180089"/>
                <a:gd name="connsiteX2" fmla="*/ 1694964 w 1694567"/>
                <a:gd name="connsiteY2" fmla="*/ 2189328 h 2180089"/>
                <a:gd name="connsiteX3" fmla="*/ 0 w 1694567"/>
                <a:gd name="connsiteY3" fmla="*/ 2189328 h 2180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94567" h="2180089">
                  <a:moveTo>
                    <a:pt x="0" y="0"/>
                  </a:moveTo>
                  <a:lnTo>
                    <a:pt x="1694964" y="0"/>
                  </a:lnTo>
                  <a:lnTo>
                    <a:pt x="1694964" y="2189328"/>
                  </a:lnTo>
                  <a:lnTo>
                    <a:pt x="0" y="2189328"/>
                  </a:lnTo>
                  <a:close/>
                </a:path>
              </a:pathLst>
            </a:custGeom>
            <a:ln/>
          </p:spPr>
        </p:pic>
      </p:grp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Slide do think-cell" r:id="rId6" imgW="270" imgH="270" progId="TCLayout.ActiveDocument.1">
                  <p:embed/>
                </p:oleObj>
              </mc:Choice>
              <mc:Fallback>
                <p:oleObj name="Slide do think-cell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8E20B858-09B1-4105-837A-E4AAB518048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265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pic>
        <p:nvPicPr>
          <p:cNvPr id="20" name="Picture 19" hidden="1">
            <a:extLst>
              <a:ext uri="{FF2B5EF4-FFF2-40B4-BE49-F238E27FC236}">
                <a16:creationId xmlns:a16="http://schemas.microsoft.com/office/drawing/2014/main" id="{EFD88CA6-E60A-4C74-933F-F7776DF5AD1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6958" y="4369504"/>
            <a:ext cx="2357473" cy="885862"/>
          </a:xfrm>
          <a:prstGeom prst="rect">
            <a:avLst/>
          </a:prstGeom>
        </p:spPr>
      </p:pic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1089" dirty="0">
              <a:solidFill>
                <a:srgbClr val="482A06"/>
              </a:solidFill>
              <a:latin typeface="Arial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1190091" y="4935677"/>
            <a:ext cx="596181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28" dirty="0">
                <a:solidFill>
                  <a:srgbClr val="ADADAD"/>
                </a:solidFill>
                <a:latin typeface="Arial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1190091" y="6381112"/>
            <a:ext cx="5961816" cy="366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9499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16" dirty="0">
                <a:solidFill>
                  <a:srgbClr val="FFFFFF"/>
                </a:solidFill>
              </a:rPr>
              <a:t>CONFIDENTIAL AND PROPRIETARY</a:t>
            </a:r>
          </a:p>
          <a:p>
            <a:pPr defTabSz="109499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16" dirty="0">
                <a:solidFill>
                  <a:srgbClr val="FFFFFF"/>
                </a:solidFill>
              </a:rPr>
              <a:t>Any use of this material without specific permission is strictly prohibi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1190091" y="3319744"/>
            <a:ext cx="5961816" cy="502445"/>
          </a:xfrm>
          <a:prstGeom prst="rect">
            <a:avLst/>
          </a:prstGeom>
        </p:spPr>
        <p:txBody>
          <a:bodyPr/>
          <a:lstStyle>
            <a:lvl1pPr>
              <a:defRPr sz="3265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1190091" y="4609393"/>
            <a:ext cx="5961816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2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grpSp>
        <p:nvGrpSpPr>
          <p:cNvPr id="15" name="LogoImage" hidden="1">
            <a:extLst>
              <a:ext uri="{FF2B5EF4-FFF2-40B4-BE49-F238E27FC236}">
                <a16:creationId xmlns:a16="http://schemas.microsoft.com/office/drawing/2014/main" id="{EAB2229D-6370-488C-937F-1A93CFBD709A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3090573" y="263459"/>
            <a:ext cx="1741648" cy="553873"/>
            <a:chOff x="0" y="973"/>
            <a:chExt cx="7680" cy="2374"/>
          </a:xfrm>
        </p:grpSpPr>
        <p:sp>
          <p:nvSpPr>
            <p:cNvPr id="16" name="AutoShape 3" hidden="1">
              <a:extLst>
                <a:ext uri="{FF2B5EF4-FFF2-40B4-BE49-F238E27FC236}">
                  <a16:creationId xmlns:a16="http://schemas.microsoft.com/office/drawing/2014/main" id="{8E86CEE8-2C1E-45F7-BFA1-BEDA55D35732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5" hidden="1">
              <a:extLst>
                <a:ext uri="{FF2B5EF4-FFF2-40B4-BE49-F238E27FC236}">
                  <a16:creationId xmlns:a16="http://schemas.microsoft.com/office/drawing/2014/main" id="{EB2102CC-8FC1-437F-921D-FAB1EA6588E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</p:grpSp>
      <p:sp>
        <p:nvSpPr>
          <p:cNvPr id="9" name="SlideLogoText" hidden="1">
            <a:extLst>
              <a:ext uri="{FF2B5EF4-FFF2-40B4-BE49-F238E27FC236}">
                <a16:creationId xmlns:a16="http://schemas.microsoft.com/office/drawing/2014/main" id="{043C28F7-1C9D-481F-9348-AB1CBD915891}"/>
              </a:ext>
            </a:extLst>
          </p:cNvPr>
          <p:cNvSpPr txBox="1"/>
          <p:nvPr userDrawn="1"/>
        </p:nvSpPr>
        <p:spPr>
          <a:xfrm>
            <a:off x="10490964" y="6641683"/>
            <a:ext cx="1050047" cy="128097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816" dirty="0">
                <a:solidFill>
                  <a:srgbClr val="808080"/>
                </a:solidFill>
              </a:rPr>
              <a:t>McKinsey &amp; Company</a:t>
            </a:r>
          </a:p>
        </p:txBody>
      </p:sp>
      <p:pic>
        <p:nvPicPr>
          <p:cNvPr id="35" name="Imagem 34">
            <a:extLst>
              <a:ext uri="{FF2B5EF4-FFF2-40B4-BE49-F238E27FC236}">
                <a16:creationId xmlns:a16="http://schemas.microsoft.com/office/drawing/2014/main" id="{4F077593-5B16-A94A-A7FB-5D5E53627C8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2518" r="7220"/>
          <a:stretch/>
        </p:blipFill>
        <p:spPr>
          <a:xfrm>
            <a:off x="8211556" y="2512320"/>
            <a:ext cx="2642613" cy="2042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317724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orma Livre: Forma 6310">
            <a:extLst>
              <a:ext uri="{FF2B5EF4-FFF2-40B4-BE49-F238E27FC236}">
                <a16:creationId xmlns:a16="http://schemas.microsoft.com/office/drawing/2014/main" id="{364C2E3C-D887-5444-BB47-C8F4C81EA43A}"/>
              </a:ext>
            </a:extLst>
          </p:cNvPr>
          <p:cNvSpPr/>
          <p:nvPr userDrawn="1"/>
        </p:nvSpPr>
        <p:spPr>
          <a:xfrm>
            <a:off x="0" y="1366"/>
            <a:ext cx="12196099" cy="6856634"/>
          </a:xfrm>
          <a:custGeom>
            <a:avLst/>
            <a:gdLst>
              <a:gd name="connsiteX0" fmla="*/ 0 w 18288000"/>
              <a:gd name="connsiteY0" fmla="*/ 0 h 10281645"/>
              <a:gd name="connsiteX1" fmla="*/ 18290284 w 18288000"/>
              <a:gd name="connsiteY1" fmla="*/ 0 h 10281645"/>
              <a:gd name="connsiteX2" fmla="*/ 18290284 w 18288000"/>
              <a:gd name="connsiteY2" fmla="*/ 10281645 h 10281645"/>
              <a:gd name="connsiteX3" fmla="*/ 0 w 18288000"/>
              <a:gd name="connsiteY3" fmla="*/ 10281645 h 102816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288000" h="10281645">
                <a:moveTo>
                  <a:pt x="0" y="0"/>
                </a:moveTo>
                <a:lnTo>
                  <a:pt x="18290284" y="0"/>
                </a:lnTo>
                <a:lnTo>
                  <a:pt x="18290284" y="10281645"/>
                </a:lnTo>
                <a:lnTo>
                  <a:pt x="0" y="10281645"/>
                </a:lnTo>
                <a:close/>
              </a:path>
            </a:pathLst>
          </a:custGeom>
          <a:solidFill>
            <a:srgbClr val="1E1E1E"/>
          </a:solidFill>
          <a:ln w="9520" cap="flat">
            <a:noFill/>
            <a:prstDash val="solid"/>
            <a:miter/>
          </a:ln>
        </p:spPr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pt-BR" sz="689" dirty="0">
              <a:solidFill>
                <a:srgbClr val="000000"/>
              </a:solidFill>
            </a:endParaRPr>
          </a:p>
        </p:txBody>
      </p:sp>
      <p:pic>
        <p:nvPicPr>
          <p:cNvPr id="24" name="Imagem 23">
            <a:extLst>
              <a:ext uri="{FF2B5EF4-FFF2-40B4-BE49-F238E27FC236}">
                <a16:creationId xmlns:a16="http://schemas.microsoft.com/office/drawing/2014/main" id="{0B51D8F9-5713-4B4D-B671-5DF532384B3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041518" y="6115743"/>
            <a:ext cx="1153901" cy="739315"/>
          </a:xfrm>
          <a:custGeom>
            <a:avLst/>
            <a:gdLst>
              <a:gd name="connsiteX0" fmla="*/ 0 w 4769540"/>
              <a:gd name="connsiteY0" fmla="*/ 0 h 3055933"/>
              <a:gd name="connsiteX1" fmla="*/ 4772326 w 4769540"/>
              <a:gd name="connsiteY1" fmla="*/ 0 h 3055933"/>
              <a:gd name="connsiteX2" fmla="*/ 4772326 w 4769540"/>
              <a:gd name="connsiteY2" fmla="*/ 3060008 h 3055933"/>
              <a:gd name="connsiteX3" fmla="*/ 0 w 4769540"/>
              <a:gd name="connsiteY3" fmla="*/ 3060008 h 3055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69540" h="3055933">
                <a:moveTo>
                  <a:pt x="0" y="0"/>
                </a:moveTo>
                <a:lnTo>
                  <a:pt x="4772326" y="0"/>
                </a:lnTo>
                <a:lnTo>
                  <a:pt x="4772326" y="3060008"/>
                </a:lnTo>
                <a:lnTo>
                  <a:pt x="0" y="3060008"/>
                </a:lnTo>
                <a:close/>
              </a:path>
            </a:pathLst>
          </a:custGeom>
          <a:ln/>
        </p:spPr>
      </p:pic>
      <p:grpSp>
        <p:nvGrpSpPr>
          <p:cNvPr id="25" name="Grupo 57">
            <a:extLst>
              <a:ext uri="{FF2B5EF4-FFF2-40B4-BE49-F238E27FC236}">
                <a16:creationId xmlns:a16="http://schemas.microsoft.com/office/drawing/2014/main" id="{1312FBD9-A679-724A-AE17-DD06CE674EEB}"/>
              </a:ext>
            </a:extLst>
          </p:cNvPr>
          <p:cNvGrpSpPr/>
          <p:nvPr userDrawn="1"/>
        </p:nvGrpSpPr>
        <p:grpSpPr>
          <a:xfrm>
            <a:off x="1190091" y="2154693"/>
            <a:ext cx="729570" cy="976707"/>
            <a:chOff x="0" y="1339"/>
            <a:chExt cx="929014" cy="1134932"/>
          </a:xfrm>
        </p:grpSpPr>
        <p:sp>
          <p:nvSpPr>
            <p:cNvPr id="27" name="Forma Livre: Forma 6311">
              <a:extLst>
                <a:ext uri="{FF2B5EF4-FFF2-40B4-BE49-F238E27FC236}">
                  <a16:creationId xmlns:a16="http://schemas.microsoft.com/office/drawing/2014/main" id="{384F6E0E-49A2-3A45-B6D3-83DE7712B925}"/>
                </a:ext>
              </a:extLst>
            </p:cNvPr>
            <p:cNvSpPr/>
            <p:nvPr/>
          </p:nvSpPr>
          <p:spPr>
            <a:xfrm>
              <a:off x="835860" y="983950"/>
              <a:ext cx="19040" cy="152321"/>
            </a:xfrm>
            <a:custGeom>
              <a:avLst/>
              <a:gdLst>
                <a:gd name="connsiteX0" fmla="*/ 23705 w 38080"/>
                <a:gd name="connsiteY0" fmla="*/ 0 h 304641"/>
                <a:gd name="connsiteX1" fmla="*/ 0 w 38080"/>
                <a:gd name="connsiteY1" fmla="*/ 21706 h 304641"/>
                <a:gd name="connsiteX2" fmla="*/ 0 w 38080"/>
                <a:gd name="connsiteY2" fmla="*/ 290552 h 304641"/>
                <a:gd name="connsiteX3" fmla="*/ 23705 w 38080"/>
                <a:gd name="connsiteY3" fmla="*/ 312257 h 304641"/>
                <a:gd name="connsiteX4" fmla="*/ 47410 w 38080"/>
                <a:gd name="connsiteY4" fmla="*/ 290552 h 304641"/>
                <a:gd name="connsiteX5" fmla="*/ 47410 w 38080"/>
                <a:gd name="connsiteY5" fmla="*/ 21706 h 304641"/>
                <a:gd name="connsiteX6" fmla="*/ 23705 w 38080"/>
                <a:gd name="connsiteY6" fmla="*/ 0 h 304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080" h="304641">
                  <a:moveTo>
                    <a:pt x="23705" y="0"/>
                  </a:moveTo>
                  <a:cubicBezTo>
                    <a:pt x="10567" y="0"/>
                    <a:pt x="0" y="9710"/>
                    <a:pt x="0" y="21706"/>
                  </a:cubicBezTo>
                  <a:lnTo>
                    <a:pt x="0" y="290552"/>
                  </a:lnTo>
                  <a:cubicBezTo>
                    <a:pt x="0" y="302547"/>
                    <a:pt x="10662" y="312257"/>
                    <a:pt x="23705" y="312257"/>
                  </a:cubicBezTo>
                  <a:cubicBezTo>
                    <a:pt x="36843" y="312257"/>
                    <a:pt x="47410" y="302547"/>
                    <a:pt x="47410" y="290552"/>
                  </a:cubicBezTo>
                  <a:lnTo>
                    <a:pt x="47410" y="21706"/>
                  </a:lnTo>
                  <a:cubicBezTo>
                    <a:pt x="47410" y="9806"/>
                    <a:pt x="36747" y="0"/>
                    <a:pt x="23705" y="0"/>
                  </a:cubicBezTo>
                  <a:close/>
                </a:path>
              </a:pathLst>
            </a:custGeom>
            <a:solidFill>
              <a:srgbClr val="FF5000"/>
            </a:solidFill>
            <a:ln w="95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pt-BR" sz="689" dirty="0">
                <a:solidFill>
                  <a:srgbClr val="000000"/>
                </a:solidFill>
              </a:endParaRPr>
            </a:p>
          </p:txBody>
        </p:sp>
        <p:sp>
          <p:nvSpPr>
            <p:cNvPr id="28" name="Forma Livre: Forma 6312">
              <a:extLst>
                <a:ext uri="{FF2B5EF4-FFF2-40B4-BE49-F238E27FC236}">
                  <a16:creationId xmlns:a16="http://schemas.microsoft.com/office/drawing/2014/main" id="{2A7D223A-C92A-9E49-ABEB-F074E04187DC}"/>
                </a:ext>
              </a:extLst>
            </p:cNvPr>
            <p:cNvSpPr/>
            <p:nvPr/>
          </p:nvSpPr>
          <p:spPr>
            <a:xfrm>
              <a:off x="762413" y="1051161"/>
              <a:ext cx="166601" cy="19040"/>
            </a:xfrm>
            <a:custGeom>
              <a:avLst/>
              <a:gdLst>
                <a:gd name="connsiteX0" fmla="*/ 317398 w 333201"/>
                <a:gd name="connsiteY0" fmla="*/ 0 h 38080"/>
                <a:gd name="connsiteX1" fmla="*/ 23705 w 333201"/>
                <a:gd name="connsiteY1" fmla="*/ 0 h 38080"/>
                <a:gd name="connsiteX2" fmla="*/ 0 w 333201"/>
                <a:gd name="connsiteY2" fmla="*/ 21706 h 38080"/>
                <a:gd name="connsiteX3" fmla="*/ 23705 w 333201"/>
                <a:gd name="connsiteY3" fmla="*/ 43411 h 38080"/>
                <a:gd name="connsiteX4" fmla="*/ 317398 w 333201"/>
                <a:gd name="connsiteY4" fmla="*/ 43411 h 38080"/>
                <a:gd name="connsiteX5" fmla="*/ 341103 w 333201"/>
                <a:gd name="connsiteY5" fmla="*/ 21706 h 38080"/>
                <a:gd name="connsiteX6" fmla="*/ 317398 w 333201"/>
                <a:gd name="connsiteY6" fmla="*/ 0 h 38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201" h="38080">
                  <a:moveTo>
                    <a:pt x="317398" y="0"/>
                  </a:moveTo>
                  <a:lnTo>
                    <a:pt x="23705" y="0"/>
                  </a:lnTo>
                  <a:cubicBezTo>
                    <a:pt x="10567" y="0"/>
                    <a:pt x="0" y="9710"/>
                    <a:pt x="0" y="21706"/>
                  </a:cubicBezTo>
                  <a:cubicBezTo>
                    <a:pt x="0" y="33701"/>
                    <a:pt x="10662" y="43411"/>
                    <a:pt x="23705" y="43411"/>
                  </a:cubicBezTo>
                  <a:lnTo>
                    <a:pt x="317398" y="43411"/>
                  </a:lnTo>
                  <a:cubicBezTo>
                    <a:pt x="330536" y="43411"/>
                    <a:pt x="341103" y="33701"/>
                    <a:pt x="341103" y="21706"/>
                  </a:cubicBezTo>
                  <a:cubicBezTo>
                    <a:pt x="341103" y="9710"/>
                    <a:pt x="330536" y="0"/>
                    <a:pt x="317398" y="0"/>
                  </a:cubicBezTo>
                  <a:close/>
                </a:path>
              </a:pathLst>
            </a:custGeom>
            <a:solidFill>
              <a:srgbClr val="FF5000"/>
            </a:solidFill>
            <a:ln w="95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pt-BR" sz="689" dirty="0">
                <a:solidFill>
                  <a:srgbClr val="000000"/>
                </a:solidFill>
              </a:endParaRPr>
            </a:p>
          </p:txBody>
        </p:sp>
        <p:pic>
          <p:nvPicPr>
            <p:cNvPr id="29" name="Imagem 28">
              <a:extLst>
                <a:ext uri="{FF2B5EF4-FFF2-40B4-BE49-F238E27FC236}">
                  <a16:creationId xmlns:a16="http://schemas.microsoft.com/office/drawing/2014/main" id="{0322117B-1DD9-D14E-89D2-96EC072DE4A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0" y="1339"/>
              <a:ext cx="847283" cy="1090046"/>
            </a:xfrm>
            <a:custGeom>
              <a:avLst/>
              <a:gdLst>
                <a:gd name="connsiteX0" fmla="*/ 0 w 1694567"/>
                <a:gd name="connsiteY0" fmla="*/ 0 h 2180089"/>
                <a:gd name="connsiteX1" fmla="*/ 1694964 w 1694567"/>
                <a:gd name="connsiteY1" fmla="*/ 0 h 2180089"/>
                <a:gd name="connsiteX2" fmla="*/ 1694964 w 1694567"/>
                <a:gd name="connsiteY2" fmla="*/ 2189328 h 2180089"/>
                <a:gd name="connsiteX3" fmla="*/ 0 w 1694567"/>
                <a:gd name="connsiteY3" fmla="*/ 2189328 h 2180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94567" h="2180089">
                  <a:moveTo>
                    <a:pt x="0" y="0"/>
                  </a:moveTo>
                  <a:lnTo>
                    <a:pt x="1694964" y="0"/>
                  </a:lnTo>
                  <a:lnTo>
                    <a:pt x="1694964" y="2189328"/>
                  </a:lnTo>
                  <a:lnTo>
                    <a:pt x="0" y="2189328"/>
                  </a:lnTo>
                  <a:close/>
                </a:path>
              </a:pathLst>
            </a:custGeom>
            <a:ln/>
          </p:spPr>
        </p:pic>
      </p:grp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2" name="Slide do think-cell" r:id="rId6" imgW="270" imgH="270" progId="TCLayout.ActiveDocument.1">
                  <p:embed/>
                </p:oleObj>
              </mc:Choice>
              <mc:Fallback>
                <p:oleObj name="Slide do think-cell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8E20B858-09B1-4105-837A-E4AAB518048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265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pic>
        <p:nvPicPr>
          <p:cNvPr id="20" name="Picture 19" hidden="1">
            <a:extLst>
              <a:ext uri="{FF2B5EF4-FFF2-40B4-BE49-F238E27FC236}">
                <a16:creationId xmlns:a16="http://schemas.microsoft.com/office/drawing/2014/main" id="{EFD88CA6-E60A-4C74-933F-F7776DF5AD1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6958" y="4369504"/>
            <a:ext cx="2357473" cy="885862"/>
          </a:xfrm>
          <a:prstGeom prst="rect">
            <a:avLst/>
          </a:prstGeom>
        </p:spPr>
      </p:pic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1089" dirty="0">
              <a:solidFill>
                <a:srgbClr val="482A06"/>
              </a:solidFill>
              <a:latin typeface="Arial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1190091" y="4935677"/>
            <a:ext cx="596181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28" dirty="0">
                <a:solidFill>
                  <a:srgbClr val="ADADAD"/>
                </a:solidFill>
                <a:latin typeface="Arial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1190091" y="6381112"/>
            <a:ext cx="5961816" cy="366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9499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16" dirty="0">
                <a:solidFill>
                  <a:srgbClr val="FFFFFF"/>
                </a:solidFill>
              </a:rPr>
              <a:t>CONFIDENTIAL AND PROPRIETARY</a:t>
            </a:r>
          </a:p>
          <a:p>
            <a:pPr defTabSz="109499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16" dirty="0">
                <a:solidFill>
                  <a:srgbClr val="FFFFFF"/>
                </a:solidFill>
              </a:rPr>
              <a:t>Any use of this material without specific permission is strictly prohibi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1190091" y="3319744"/>
            <a:ext cx="5961816" cy="502445"/>
          </a:xfrm>
          <a:prstGeom prst="rect">
            <a:avLst/>
          </a:prstGeom>
        </p:spPr>
        <p:txBody>
          <a:bodyPr/>
          <a:lstStyle>
            <a:lvl1pPr>
              <a:defRPr sz="3265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1190091" y="4609393"/>
            <a:ext cx="5961816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2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grpSp>
        <p:nvGrpSpPr>
          <p:cNvPr id="15" name="LogoImage" hidden="1">
            <a:extLst>
              <a:ext uri="{FF2B5EF4-FFF2-40B4-BE49-F238E27FC236}">
                <a16:creationId xmlns:a16="http://schemas.microsoft.com/office/drawing/2014/main" id="{EAB2229D-6370-488C-937F-1A93CFBD709A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3090573" y="263459"/>
            <a:ext cx="1741648" cy="553873"/>
            <a:chOff x="0" y="973"/>
            <a:chExt cx="7680" cy="2374"/>
          </a:xfrm>
        </p:grpSpPr>
        <p:sp>
          <p:nvSpPr>
            <p:cNvPr id="16" name="AutoShape 3" hidden="1">
              <a:extLst>
                <a:ext uri="{FF2B5EF4-FFF2-40B4-BE49-F238E27FC236}">
                  <a16:creationId xmlns:a16="http://schemas.microsoft.com/office/drawing/2014/main" id="{8E86CEE8-2C1E-45F7-BFA1-BEDA55D35732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5" hidden="1">
              <a:extLst>
                <a:ext uri="{FF2B5EF4-FFF2-40B4-BE49-F238E27FC236}">
                  <a16:creationId xmlns:a16="http://schemas.microsoft.com/office/drawing/2014/main" id="{EB2102CC-8FC1-437F-921D-FAB1EA6588E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</p:grpSp>
      <p:sp>
        <p:nvSpPr>
          <p:cNvPr id="9" name="SlideLogoText" hidden="1">
            <a:extLst>
              <a:ext uri="{FF2B5EF4-FFF2-40B4-BE49-F238E27FC236}">
                <a16:creationId xmlns:a16="http://schemas.microsoft.com/office/drawing/2014/main" id="{043C28F7-1C9D-481F-9348-AB1CBD915891}"/>
              </a:ext>
            </a:extLst>
          </p:cNvPr>
          <p:cNvSpPr txBox="1"/>
          <p:nvPr userDrawn="1"/>
        </p:nvSpPr>
        <p:spPr>
          <a:xfrm>
            <a:off x="10490964" y="6641683"/>
            <a:ext cx="1050047" cy="128097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816" dirty="0">
                <a:solidFill>
                  <a:srgbClr val="808080"/>
                </a:solidFill>
              </a:rPr>
              <a:t>McKinsey &amp; Company</a:t>
            </a:r>
          </a:p>
        </p:txBody>
      </p:sp>
      <p:pic>
        <p:nvPicPr>
          <p:cNvPr id="35" name="Imagem 34">
            <a:extLst>
              <a:ext uri="{FF2B5EF4-FFF2-40B4-BE49-F238E27FC236}">
                <a16:creationId xmlns:a16="http://schemas.microsoft.com/office/drawing/2014/main" id="{4F077593-5B16-A94A-A7FB-5D5E53627C8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2518" r="7220"/>
          <a:stretch/>
        </p:blipFill>
        <p:spPr>
          <a:xfrm>
            <a:off x="8211556" y="2512320"/>
            <a:ext cx="2642613" cy="2042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163684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6C2E2AD-728B-4A74-82B7-423700E3FB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6" name="Slide do think-cell" r:id="rId5" imgW="335" imgH="335" progId="TCLayout.ActiveDocument.1">
                  <p:embed/>
                </p:oleObj>
              </mc:Choice>
              <mc:Fallback>
                <p:oleObj name="Slide do think-cell" r:id="rId5" imgW="335" imgH="33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6C2E2AD-728B-4A74-82B7-423700E3FB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643263A-468A-44CF-A468-90CA12402A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04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585831" y="234865"/>
            <a:ext cx="9324003" cy="31402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247759" y="6639224"/>
            <a:ext cx="170101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816" smtClean="0">
                <a:solidFill>
                  <a:srgbClr val="80808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sz="816" dirty="0">
              <a:solidFill>
                <a:srgbClr val="808080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 fontAlgn="base">
              <a:spcBef>
                <a:spcPct val="0"/>
              </a:spcBef>
              <a:spcAft>
                <a:spcPct val="0"/>
              </a:spcAft>
            </a:pPr>
            <a:endParaRPr lang="en-US" sz="612" dirty="0">
              <a:solidFill>
                <a:srgbClr val="808080"/>
              </a:solidFill>
            </a:endParaRPr>
          </a:p>
        </p:txBody>
      </p:sp>
      <p:sp>
        <p:nvSpPr>
          <p:cNvPr id="3" name="SlideLogoText" hidden="1">
            <a:extLst>
              <a:ext uri="{FF2B5EF4-FFF2-40B4-BE49-F238E27FC236}">
                <a16:creationId xmlns:a16="http://schemas.microsoft.com/office/drawing/2014/main" id="{24BEA663-3AE7-43AA-9DEF-3C8D00331FBE}"/>
              </a:ext>
            </a:extLst>
          </p:cNvPr>
          <p:cNvSpPr txBox="1"/>
          <p:nvPr userDrawn="1"/>
        </p:nvSpPr>
        <p:spPr>
          <a:xfrm>
            <a:off x="10490964" y="6641683"/>
            <a:ext cx="1050047" cy="128097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816" dirty="0">
                <a:solidFill>
                  <a:srgbClr val="808080"/>
                </a:solidFill>
              </a:rPr>
              <a:t>McKinsey &amp; Company</a:t>
            </a:r>
          </a:p>
        </p:txBody>
      </p:sp>
      <p:pic>
        <p:nvPicPr>
          <p:cNvPr id="7" name="Picture 6" hidden="1">
            <a:extLst>
              <a:ext uri="{FF2B5EF4-FFF2-40B4-BE49-F238E27FC236}">
                <a16:creationId xmlns:a16="http://schemas.microsoft.com/office/drawing/2014/main" id="{77800B73-3AE1-4633-874D-44F5B846B28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762279" y="-753032"/>
            <a:ext cx="936519" cy="232366"/>
          </a:xfrm>
          <a:prstGeom prst="rect">
            <a:avLst/>
          </a:prstGeom>
        </p:spPr>
      </p:pic>
      <p:grpSp>
        <p:nvGrpSpPr>
          <p:cNvPr id="9" name="Agrupar 6330">
            <a:extLst>
              <a:ext uri="{FF2B5EF4-FFF2-40B4-BE49-F238E27FC236}">
                <a16:creationId xmlns:a16="http://schemas.microsoft.com/office/drawing/2014/main" id="{92D462DC-653C-F747-A9D8-3DF206D5A5FF}"/>
              </a:ext>
            </a:extLst>
          </p:cNvPr>
          <p:cNvGrpSpPr/>
          <p:nvPr userDrawn="1"/>
        </p:nvGrpSpPr>
        <p:grpSpPr>
          <a:xfrm>
            <a:off x="11735463" y="188690"/>
            <a:ext cx="456537" cy="204176"/>
            <a:chOff x="17393497" y="369865"/>
            <a:chExt cx="894884" cy="400222"/>
          </a:xfrm>
        </p:grpSpPr>
        <p:sp>
          <p:nvSpPr>
            <p:cNvPr id="10" name="Forma Livre: Forma 6321">
              <a:extLst>
                <a:ext uri="{FF2B5EF4-FFF2-40B4-BE49-F238E27FC236}">
                  <a16:creationId xmlns:a16="http://schemas.microsoft.com/office/drawing/2014/main" id="{FE7705BB-D291-594A-AC27-AAAA358F0EF0}"/>
                </a:ext>
              </a:extLst>
            </p:cNvPr>
            <p:cNvSpPr/>
            <p:nvPr/>
          </p:nvSpPr>
          <p:spPr>
            <a:xfrm>
              <a:off x="17393497" y="369865"/>
              <a:ext cx="894884" cy="38080"/>
            </a:xfrm>
            <a:custGeom>
              <a:avLst/>
              <a:gdLst>
                <a:gd name="connsiteX0" fmla="*/ 0 w 894883"/>
                <a:gd name="connsiteY0" fmla="*/ 0 h 38080"/>
                <a:gd name="connsiteX1" fmla="*/ 896883 w 894883"/>
                <a:gd name="connsiteY1" fmla="*/ 0 h 38080"/>
                <a:gd name="connsiteX2" fmla="*/ 896883 w 894883"/>
                <a:gd name="connsiteY2" fmla="*/ 38461 h 38080"/>
                <a:gd name="connsiteX3" fmla="*/ 0 w 894883"/>
                <a:gd name="connsiteY3" fmla="*/ 38461 h 38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4883" h="38080">
                  <a:moveTo>
                    <a:pt x="0" y="0"/>
                  </a:moveTo>
                  <a:lnTo>
                    <a:pt x="896883" y="0"/>
                  </a:lnTo>
                  <a:lnTo>
                    <a:pt x="896883" y="38461"/>
                  </a:lnTo>
                  <a:lnTo>
                    <a:pt x="0" y="38461"/>
                  </a:lnTo>
                  <a:close/>
                </a:path>
              </a:pathLst>
            </a:custGeom>
            <a:solidFill>
              <a:srgbClr val="FF5000"/>
            </a:solidFill>
            <a:ln w="95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pt-BR" sz="689" dirty="0">
                <a:solidFill>
                  <a:srgbClr val="000000"/>
                </a:solidFill>
              </a:endParaRPr>
            </a:p>
          </p:txBody>
        </p:sp>
        <p:sp>
          <p:nvSpPr>
            <p:cNvPr id="11" name="Forma Livre: Forma 6322">
              <a:extLst>
                <a:ext uri="{FF2B5EF4-FFF2-40B4-BE49-F238E27FC236}">
                  <a16:creationId xmlns:a16="http://schemas.microsoft.com/office/drawing/2014/main" id="{D691F90E-4761-1044-8C46-0B2455CD0539}"/>
                </a:ext>
              </a:extLst>
            </p:cNvPr>
            <p:cNvSpPr/>
            <p:nvPr/>
          </p:nvSpPr>
          <p:spPr>
            <a:xfrm>
              <a:off x="17393497" y="490579"/>
              <a:ext cx="894884" cy="38080"/>
            </a:xfrm>
            <a:custGeom>
              <a:avLst/>
              <a:gdLst>
                <a:gd name="connsiteX0" fmla="*/ 0 w 894883"/>
                <a:gd name="connsiteY0" fmla="*/ 0 h 38080"/>
                <a:gd name="connsiteX1" fmla="*/ 896883 w 894883"/>
                <a:gd name="connsiteY1" fmla="*/ 0 h 38080"/>
                <a:gd name="connsiteX2" fmla="*/ 896883 w 894883"/>
                <a:gd name="connsiteY2" fmla="*/ 38461 h 38080"/>
                <a:gd name="connsiteX3" fmla="*/ 0 w 894883"/>
                <a:gd name="connsiteY3" fmla="*/ 38461 h 38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4883" h="38080">
                  <a:moveTo>
                    <a:pt x="0" y="0"/>
                  </a:moveTo>
                  <a:lnTo>
                    <a:pt x="896883" y="0"/>
                  </a:lnTo>
                  <a:lnTo>
                    <a:pt x="896883" y="38461"/>
                  </a:lnTo>
                  <a:lnTo>
                    <a:pt x="0" y="38461"/>
                  </a:lnTo>
                  <a:close/>
                </a:path>
              </a:pathLst>
            </a:custGeom>
            <a:solidFill>
              <a:srgbClr val="FF5000"/>
            </a:solidFill>
            <a:ln w="95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pt-BR" sz="689" dirty="0">
                <a:solidFill>
                  <a:srgbClr val="000000"/>
                </a:solidFill>
              </a:endParaRPr>
            </a:p>
          </p:txBody>
        </p:sp>
        <p:sp>
          <p:nvSpPr>
            <p:cNvPr id="12" name="Forma Livre: Forma 6323">
              <a:extLst>
                <a:ext uri="{FF2B5EF4-FFF2-40B4-BE49-F238E27FC236}">
                  <a16:creationId xmlns:a16="http://schemas.microsoft.com/office/drawing/2014/main" id="{8AC2D039-9851-244C-BAA3-FC5BF23C25B9}"/>
                </a:ext>
              </a:extLst>
            </p:cNvPr>
            <p:cNvSpPr/>
            <p:nvPr/>
          </p:nvSpPr>
          <p:spPr>
            <a:xfrm>
              <a:off x="17393497" y="611293"/>
              <a:ext cx="894884" cy="38080"/>
            </a:xfrm>
            <a:custGeom>
              <a:avLst/>
              <a:gdLst>
                <a:gd name="connsiteX0" fmla="*/ 0 w 894883"/>
                <a:gd name="connsiteY0" fmla="*/ 0 h 38080"/>
                <a:gd name="connsiteX1" fmla="*/ 896883 w 894883"/>
                <a:gd name="connsiteY1" fmla="*/ 0 h 38080"/>
                <a:gd name="connsiteX2" fmla="*/ 896883 w 894883"/>
                <a:gd name="connsiteY2" fmla="*/ 38461 h 38080"/>
                <a:gd name="connsiteX3" fmla="*/ 0 w 894883"/>
                <a:gd name="connsiteY3" fmla="*/ 38461 h 38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4883" h="38080">
                  <a:moveTo>
                    <a:pt x="0" y="0"/>
                  </a:moveTo>
                  <a:lnTo>
                    <a:pt x="896883" y="0"/>
                  </a:lnTo>
                  <a:lnTo>
                    <a:pt x="896883" y="38461"/>
                  </a:lnTo>
                  <a:lnTo>
                    <a:pt x="0" y="38461"/>
                  </a:lnTo>
                  <a:close/>
                </a:path>
              </a:pathLst>
            </a:custGeom>
            <a:solidFill>
              <a:srgbClr val="FF5000"/>
            </a:solidFill>
            <a:ln w="95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pt-BR" sz="689" dirty="0">
                <a:solidFill>
                  <a:srgbClr val="000000"/>
                </a:solidFill>
              </a:endParaRPr>
            </a:p>
          </p:txBody>
        </p:sp>
        <p:sp>
          <p:nvSpPr>
            <p:cNvPr id="13" name="Forma Livre: Forma 6324">
              <a:extLst>
                <a:ext uri="{FF2B5EF4-FFF2-40B4-BE49-F238E27FC236}">
                  <a16:creationId xmlns:a16="http://schemas.microsoft.com/office/drawing/2014/main" id="{223E0C72-FF2F-174F-B0BA-69F8BCB943BE}"/>
                </a:ext>
              </a:extLst>
            </p:cNvPr>
            <p:cNvSpPr/>
            <p:nvPr/>
          </p:nvSpPr>
          <p:spPr>
            <a:xfrm>
              <a:off x="17393497" y="732007"/>
              <a:ext cx="894884" cy="38080"/>
            </a:xfrm>
            <a:custGeom>
              <a:avLst/>
              <a:gdLst>
                <a:gd name="connsiteX0" fmla="*/ 0 w 894883"/>
                <a:gd name="connsiteY0" fmla="*/ 0 h 38080"/>
                <a:gd name="connsiteX1" fmla="*/ 896883 w 894883"/>
                <a:gd name="connsiteY1" fmla="*/ 0 h 38080"/>
                <a:gd name="connsiteX2" fmla="*/ 896883 w 894883"/>
                <a:gd name="connsiteY2" fmla="*/ 38461 h 38080"/>
                <a:gd name="connsiteX3" fmla="*/ 0 w 894883"/>
                <a:gd name="connsiteY3" fmla="*/ 38461 h 38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4883" h="38080">
                  <a:moveTo>
                    <a:pt x="0" y="0"/>
                  </a:moveTo>
                  <a:lnTo>
                    <a:pt x="896883" y="0"/>
                  </a:lnTo>
                  <a:lnTo>
                    <a:pt x="896883" y="38461"/>
                  </a:lnTo>
                  <a:lnTo>
                    <a:pt x="0" y="38461"/>
                  </a:lnTo>
                  <a:close/>
                </a:path>
              </a:pathLst>
            </a:custGeom>
            <a:solidFill>
              <a:srgbClr val="FF5000"/>
            </a:solidFill>
            <a:ln w="95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pt-BR" sz="689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4" name="Picture 25" descr="NexaLogo.png">
            <a:extLst>
              <a:ext uri="{FF2B5EF4-FFF2-40B4-BE49-F238E27FC236}">
                <a16:creationId xmlns:a16="http://schemas.microsoft.com/office/drawing/2014/main" id="{849F3190-BB8B-734C-81A8-FEC2FC177F4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710" y="6530106"/>
            <a:ext cx="866170" cy="215096"/>
          </a:xfrm>
          <a:prstGeom prst="rect">
            <a:avLst/>
          </a:prstGeom>
        </p:spPr>
      </p:pic>
      <p:pic>
        <p:nvPicPr>
          <p:cNvPr id="15" name="Imagem 6326">
            <a:extLst>
              <a:ext uri="{FF2B5EF4-FFF2-40B4-BE49-F238E27FC236}">
                <a16:creationId xmlns:a16="http://schemas.microsoft.com/office/drawing/2014/main" id="{3C5D860F-57A5-CB4D-B67C-9DAB5E5ABF7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83764" y="189654"/>
            <a:ext cx="368253" cy="391429"/>
          </a:xfrm>
          <a:custGeom>
            <a:avLst/>
            <a:gdLst>
              <a:gd name="connsiteX0" fmla="*/ 0 w 1123364"/>
              <a:gd name="connsiteY0" fmla="*/ 0 h 1123364"/>
              <a:gd name="connsiteX1" fmla="*/ 1129682 w 1123364"/>
              <a:gd name="connsiteY1" fmla="*/ 0 h 1123364"/>
              <a:gd name="connsiteX2" fmla="*/ 1129682 w 1123364"/>
              <a:gd name="connsiteY2" fmla="*/ 1129682 h 1123364"/>
              <a:gd name="connsiteX3" fmla="*/ 0 w 1123364"/>
              <a:gd name="connsiteY3" fmla="*/ 1129682 h 1123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23364" h="1123364">
                <a:moveTo>
                  <a:pt x="0" y="0"/>
                </a:moveTo>
                <a:lnTo>
                  <a:pt x="1129682" y="0"/>
                </a:lnTo>
                <a:lnTo>
                  <a:pt x="1129682" y="1129682"/>
                </a:lnTo>
                <a:lnTo>
                  <a:pt x="0" y="1129682"/>
                </a:lnTo>
                <a:close/>
              </a:path>
            </a:pathLst>
          </a:custGeom>
          <a:ln/>
        </p:spPr>
      </p:pic>
      <p:pic>
        <p:nvPicPr>
          <p:cNvPr id="16" name="Imagem 6327">
            <a:extLst>
              <a:ext uri="{FF2B5EF4-FFF2-40B4-BE49-F238E27FC236}">
                <a16:creationId xmlns:a16="http://schemas.microsoft.com/office/drawing/2014/main" id="{CE548388-9EA7-C24C-B238-5EDC12D3CF1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7454" y="207447"/>
            <a:ext cx="334775" cy="355845"/>
          </a:xfrm>
          <a:custGeom>
            <a:avLst/>
            <a:gdLst>
              <a:gd name="connsiteX0" fmla="*/ 0 w 1123364"/>
              <a:gd name="connsiteY0" fmla="*/ 0 h 1123364"/>
              <a:gd name="connsiteX1" fmla="*/ 1129682 w 1123364"/>
              <a:gd name="connsiteY1" fmla="*/ 0 h 1123364"/>
              <a:gd name="connsiteX2" fmla="*/ 1129682 w 1123364"/>
              <a:gd name="connsiteY2" fmla="*/ 1129682 h 1123364"/>
              <a:gd name="connsiteX3" fmla="*/ 0 w 1123364"/>
              <a:gd name="connsiteY3" fmla="*/ 1129682 h 1123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23364" h="1123364">
                <a:moveTo>
                  <a:pt x="0" y="0"/>
                </a:moveTo>
                <a:lnTo>
                  <a:pt x="1129682" y="0"/>
                </a:lnTo>
                <a:lnTo>
                  <a:pt x="1129682" y="1129682"/>
                </a:lnTo>
                <a:lnTo>
                  <a:pt x="0" y="1129682"/>
                </a:lnTo>
                <a:close/>
              </a:path>
            </a:pathLst>
          </a:custGeom>
          <a:ln/>
        </p:spPr>
      </p:pic>
      <p:grpSp>
        <p:nvGrpSpPr>
          <p:cNvPr id="17" name="Grupo 15">
            <a:extLst>
              <a:ext uri="{FF2B5EF4-FFF2-40B4-BE49-F238E27FC236}">
                <a16:creationId xmlns:a16="http://schemas.microsoft.com/office/drawing/2014/main" id="{FA9D59A3-7055-E943-9E6F-15047D73F773}"/>
              </a:ext>
            </a:extLst>
          </p:cNvPr>
          <p:cNvGrpSpPr/>
          <p:nvPr userDrawn="1"/>
        </p:nvGrpSpPr>
        <p:grpSpPr>
          <a:xfrm>
            <a:off x="1" y="1367"/>
            <a:ext cx="585829" cy="715668"/>
            <a:chOff x="0" y="1339"/>
            <a:chExt cx="929014" cy="1134932"/>
          </a:xfrm>
        </p:grpSpPr>
        <p:sp>
          <p:nvSpPr>
            <p:cNvPr id="18" name="Forma Livre: Forma 6311">
              <a:extLst>
                <a:ext uri="{FF2B5EF4-FFF2-40B4-BE49-F238E27FC236}">
                  <a16:creationId xmlns:a16="http://schemas.microsoft.com/office/drawing/2014/main" id="{0DC1A6A0-AA9C-B447-883B-6F6BA9501A61}"/>
                </a:ext>
              </a:extLst>
            </p:cNvPr>
            <p:cNvSpPr/>
            <p:nvPr/>
          </p:nvSpPr>
          <p:spPr>
            <a:xfrm>
              <a:off x="835860" y="983950"/>
              <a:ext cx="19040" cy="152321"/>
            </a:xfrm>
            <a:custGeom>
              <a:avLst/>
              <a:gdLst>
                <a:gd name="connsiteX0" fmla="*/ 23705 w 38080"/>
                <a:gd name="connsiteY0" fmla="*/ 0 h 304641"/>
                <a:gd name="connsiteX1" fmla="*/ 0 w 38080"/>
                <a:gd name="connsiteY1" fmla="*/ 21706 h 304641"/>
                <a:gd name="connsiteX2" fmla="*/ 0 w 38080"/>
                <a:gd name="connsiteY2" fmla="*/ 290552 h 304641"/>
                <a:gd name="connsiteX3" fmla="*/ 23705 w 38080"/>
                <a:gd name="connsiteY3" fmla="*/ 312257 h 304641"/>
                <a:gd name="connsiteX4" fmla="*/ 47410 w 38080"/>
                <a:gd name="connsiteY4" fmla="*/ 290552 h 304641"/>
                <a:gd name="connsiteX5" fmla="*/ 47410 w 38080"/>
                <a:gd name="connsiteY5" fmla="*/ 21706 h 304641"/>
                <a:gd name="connsiteX6" fmla="*/ 23705 w 38080"/>
                <a:gd name="connsiteY6" fmla="*/ 0 h 304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080" h="304641">
                  <a:moveTo>
                    <a:pt x="23705" y="0"/>
                  </a:moveTo>
                  <a:cubicBezTo>
                    <a:pt x="10567" y="0"/>
                    <a:pt x="0" y="9710"/>
                    <a:pt x="0" y="21706"/>
                  </a:cubicBezTo>
                  <a:lnTo>
                    <a:pt x="0" y="290552"/>
                  </a:lnTo>
                  <a:cubicBezTo>
                    <a:pt x="0" y="302547"/>
                    <a:pt x="10662" y="312257"/>
                    <a:pt x="23705" y="312257"/>
                  </a:cubicBezTo>
                  <a:cubicBezTo>
                    <a:pt x="36843" y="312257"/>
                    <a:pt x="47410" y="302547"/>
                    <a:pt x="47410" y="290552"/>
                  </a:cubicBezTo>
                  <a:lnTo>
                    <a:pt x="47410" y="21706"/>
                  </a:lnTo>
                  <a:cubicBezTo>
                    <a:pt x="47410" y="9806"/>
                    <a:pt x="36747" y="0"/>
                    <a:pt x="23705" y="0"/>
                  </a:cubicBezTo>
                  <a:close/>
                </a:path>
              </a:pathLst>
            </a:custGeom>
            <a:solidFill>
              <a:srgbClr val="FF5000"/>
            </a:solidFill>
            <a:ln w="95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pt-BR" sz="689" dirty="0">
                <a:solidFill>
                  <a:srgbClr val="000000"/>
                </a:solidFill>
              </a:endParaRPr>
            </a:p>
          </p:txBody>
        </p:sp>
        <p:sp>
          <p:nvSpPr>
            <p:cNvPr id="19" name="Forma Livre: Forma 6312">
              <a:extLst>
                <a:ext uri="{FF2B5EF4-FFF2-40B4-BE49-F238E27FC236}">
                  <a16:creationId xmlns:a16="http://schemas.microsoft.com/office/drawing/2014/main" id="{DAF47366-BF6A-744B-9F60-2758580A2138}"/>
                </a:ext>
              </a:extLst>
            </p:cNvPr>
            <p:cNvSpPr/>
            <p:nvPr/>
          </p:nvSpPr>
          <p:spPr>
            <a:xfrm>
              <a:off x="762413" y="1051161"/>
              <a:ext cx="166601" cy="19040"/>
            </a:xfrm>
            <a:custGeom>
              <a:avLst/>
              <a:gdLst>
                <a:gd name="connsiteX0" fmla="*/ 317398 w 333201"/>
                <a:gd name="connsiteY0" fmla="*/ 0 h 38080"/>
                <a:gd name="connsiteX1" fmla="*/ 23705 w 333201"/>
                <a:gd name="connsiteY1" fmla="*/ 0 h 38080"/>
                <a:gd name="connsiteX2" fmla="*/ 0 w 333201"/>
                <a:gd name="connsiteY2" fmla="*/ 21706 h 38080"/>
                <a:gd name="connsiteX3" fmla="*/ 23705 w 333201"/>
                <a:gd name="connsiteY3" fmla="*/ 43411 h 38080"/>
                <a:gd name="connsiteX4" fmla="*/ 317398 w 333201"/>
                <a:gd name="connsiteY4" fmla="*/ 43411 h 38080"/>
                <a:gd name="connsiteX5" fmla="*/ 341103 w 333201"/>
                <a:gd name="connsiteY5" fmla="*/ 21706 h 38080"/>
                <a:gd name="connsiteX6" fmla="*/ 317398 w 333201"/>
                <a:gd name="connsiteY6" fmla="*/ 0 h 38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201" h="38080">
                  <a:moveTo>
                    <a:pt x="317398" y="0"/>
                  </a:moveTo>
                  <a:lnTo>
                    <a:pt x="23705" y="0"/>
                  </a:lnTo>
                  <a:cubicBezTo>
                    <a:pt x="10567" y="0"/>
                    <a:pt x="0" y="9710"/>
                    <a:pt x="0" y="21706"/>
                  </a:cubicBezTo>
                  <a:cubicBezTo>
                    <a:pt x="0" y="33701"/>
                    <a:pt x="10662" y="43411"/>
                    <a:pt x="23705" y="43411"/>
                  </a:cubicBezTo>
                  <a:lnTo>
                    <a:pt x="317398" y="43411"/>
                  </a:lnTo>
                  <a:cubicBezTo>
                    <a:pt x="330536" y="43411"/>
                    <a:pt x="341103" y="33701"/>
                    <a:pt x="341103" y="21706"/>
                  </a:cubicBezTo>
                  <a:cubicBezTo>
                    <a:pt x="341103" y="9710"/>
                    <a:pt x="330536" y="0"/>
                    <a:pt x="317398" y="0"/>
                  </a:cubicBezTo>
                  <a:close/>
                </a:path>
              </a:pathLst>
            </a:custGeom>
            <a:solidFill>
              <a:srgbClr val="FF5000"/>
            </a:solidFill>
            <a:ln w="95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pt-BR" sz="689" dirty="0">
                <a:solidFill>
                  <a:srgbClr val="000000"/>
                </a:solidFill>
              </a:endParaRPr>
            </a:p>
          </p:txBody>
        </p:sp>
        <p:pic>
          <p:nvPicPr>
            <p:cNvPr id="20" name="Imagem 19">
              <a:extLst>
                <a:ext uri="{FF2B5EF4-FFF2-40B4-BE49-F238E27FC236}">
                  <a16:creationId xmlns:a16="http://schemas.microsoft.com/office/drawing/2014/main" id="{C08E4826-B0FB-0A4C-9468-101A665EEC0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0" y="1339"/>
              <a:ext cx="847284" cy="1090045"/>
            </a:xfrm>
            <a:custGeom>
              <a:avLst/>
              <a:gdLst>
                <a:gd name="connsiteX0" fmla="*/ 0 w 1694567"/>
                <a:gd name="connsiteY0" fmla="*/ 0 h 2180089"/>
                <a:gd name="connsiteX1" fmla="*/ 1694964 w 1694567"/>
                <a:gd name="connsiteY1" fmla="*/ 0 h 2180089"/>
                <a:gd name="connsiteX2" fmla="*/ 1694964 w 1694567"/>
                <a:gd name="connsiteY2" fmla="*/ 2189328 h 2180089"/>
                <a:gd name="connsiteX3" fmla="*/ 0 w 1694567"/>
                <a:gd name="connsiteY3" fmla="*/ 2189328 h 2180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94567" h="2180089">
                  <a:moveTo>
                    <a:pt x="0" y="0"/>
                  </a:moveTo>
                  <a:lnTo>
                    <a:pt x="1694964" y="0"/>
                  </a:lnTo>
                  <a:lnTo>
                    <a:pt x="1694964" y="2189328"/>
                  </a:lnTo>
                  <a:lnTo>
                    <a:pt x="0" y="2189328"/>
                  </a:lnTo>
                  <a:close/>
                </a:path>
              </a:pathLst>
            </a:custGeom>
            <a:ln/>
          </p:spPr>
        </p:pic>
      </p:grpSp>
      <p:pic>
        <p:nvPicPr>
          <p:cNvPr id="21" name="Imagem 20">
            <a:extLst>
              <a:ext uri="{FF2B5EF4-FFF2-40B4-BE49-F238E27FC236}">
                <a16:creationId xmlns:a16="http://schemas.microsoft.com/office/drawing/2014/main" id="{6CB0EC24-09F5-6443-88E2-CB8180548B8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474233" y="6398121"/>
            <a:ext cx="717767" cy="459880"/>
          </a:xfrm>
          <a:custGeom>
            <a:avLst/>
            <a:gdLst>
              <a:gd name="connsiteX0" fmla="*/ 0 w 4769540"/>
              <a:gd name="connsiteY0" fmla="*/ 0 h 3055933"/>
              <a:gd name="connsiteX1" fmla="*/ 4772326 w 4769540"/>
              <a:gd name="connsiteY1" fmla="*/ 0 h 3055933"/>
              <a:gd name="connsiteX2" fmla="*/ 4772326 w 4769540"/>
              <a:gd name="connsiteY2" fmla="*/ 3060008 h 3055933"/>
              <a:gd name="connsiteX3" fmla="*/ 0 w 4769540"/>
              <a:gd name="connsiteY3" fmla="*/ 3060008 h 3055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69540" h="3055933">
                <a:moveTo>
                  <a:pt x="0" y="0"/>
                </a:moveTo>
                <a:lnTo>
                  <a:pt x="4772326" y="0"/>
                </a:lnTo>
                <a:lnTo>
                  <a:pt x="4772326" y="3060008"/>
                </a:lnTo>
                <a:lnTo>
                  <a:pt x="0" y="3060008"/>
                </a:lnTo>
                <a:close/>
              </a:path>
            </a:pathLst>
          </a:custGeom>
          <a:ln/>
        </p:spPr>
      </p:pic>
      <p:pic>
        <p:nvPicPr>
          <p:cNvPr id="22" name="Imagem 6325">
            <a:extLst>
              <a:ext uri="{FF2B5EF4-FFF2-40B4-BE49-F238E27FC236}">
                <a16:creationId xmlns:a16="http://schemas.microsoft.com/office/drawing/2014/main" id="{25101C7E-A22C-3445-9DCD-0A8C6E79807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9595" y="227388"/>
            <a:ext cx="304341" cy="323495"/>
          </a:xfrm>
          <a:custGeom>
            <a:avLst/>
            <a:gdLst>
              <a:gd name="connsiteX0" fmla="*/ 0 w 1123364"/>
              <a:gd name="connsiteY0" fmla="*/ 0 h 1123364"/>
              <a:gd name="connsiteX1" fmla="*/ 1129682 w 1123364"/>
              <a:gd name="connsiteY1" fmla="*/ 0 h 1123364"/>
              <a:gd name="connsiteX2" fmla="*/ 1129682 w 1123364"/>
              <a:gd name="connsiteY2" fmla="*/ 1129682 h 1123364"/>
              <a:gd name="connsiteX3" fmla="*/ 0 w 1123364"/>
              <a:gd name="connsiteY3" fmla="*/ 1129682 h 1123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23364" h="1123364">
                <a:moveTo>
                  <a:pt x="0" y="0"/>
                </a:moveTo>
                <a:lnTo>
                  <a:pt x="1129682" y="0"/>
                </a:lnTo>
                <a:lnTo>
                  <a:pt x="1129682" y="1129682"/>
                </a:lnTo>
                <a:lnTo>
                  <a:pt x="0" y="1129682"/>
                </a:lnTo>
                <a:close/>
              </a:path>
            </a:pathLst>
          </a:custGeom>
          <a:ln/>
        </p:spPr>
      </p:pic>
    </p:spTree>
    <p:extLst>
      <p:ext uri="{BB962C8B-B14F-4D97-AF65-F5344CB8AC3E}">
        <p14:creationId xmlns:p14="http://schemas.microsoft.com/office/powerpoint/2010/main" val="13374448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Only">
    <p:bg>
      <p:bgPr>
        <a:solidFill>
          <a:schemeClr val="accent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6C2E2AD-728B-4A74-82B7-423700E3FB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7138149"/>
              </p:ext>
            </p:ext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0" name="Slide do think-cell" r:id="rId5" imgW="335" imgH="335" progId="TCLayout.ActiveDocument.1">
                  <p:embed/>
                </p:oleObj>
              </mc:Choice>
              <mc:Fallback>
                <p:oleObj name="Slide do think-cell" r:id="rId5" imgW="335" imgH="33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6C2E2AD-728B-4A74-82B7-423700E3FB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643263A-468A-44CF-A468-90CA12402A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fontAlgn="base"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585831" y="234865"/>
            <a:ext cx="9324003" cy="31402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247759" y="6639224"/>
            <a:ext cx="170101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816" smtClean="0">
                <a:solidFill>
                  <a:srgbClr val="80808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sz="816" dirty="0">
              <a:solidFill>
                <a:srgbClr val="808080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 fontAlgn="base">
              <a:spcBef>
                <a:spcPct val="0"/>
              </a:spcBef>
              <a:spcAft>
                <a:spcPct val="0"/>
              </a:spcAft>
            </a:pPr>
            <a:endParaRPr lang="en-US" sz="612" dirty="0">
              <a:solidFill>
                <a:srgbClr val="808080"/>
              </a:solidFill>
            </a:endParaRPr>
          </a:p>
        </p:txBody>
      </p:sp>
      <p:sp>
        <p:nvSpPr>
          <p:cNvPr id="3" name="SlideLogoText" hidden="1">
            <a:extLst>
              <a:ext uri="{FF2B5EF4-FFF2-40B4-BE49-F238E27FC236}">
                <a16:creationId xmlns:a16="http://schemas.microsoft.com/office/drawing/2014/main" id="{24BEA663-3AE7-43AA-9DEF-3C8D00331FBE}"/>
              </a:ext>
            </a:extLst>
          </p:cNvPr>
          <p:cNvSpPr txBox="1"/>
          <p:nvPr userDrawn="1"/>
        </p:nvSpPr>
        <p:spPr>
          <a:xfrm>
            <a:off x="10490964" y="6641683"/>
            <a:ext cx="1050047" cy="128097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816" dirty="0">
                <a:solidFill>
                  <a:srgbClr val="808080"/>
                </a:solidFill>
              </a:rPr>
              <a:t>McKinsey &amp; Company</a:t>
            </a:r>
          </a:p>
        </p:txBody>
      </p:sp>
      <p:pic>
        <p:nvPicPr>
          <p:cNvPr id="7" name="Picture 6" hidden="1">
            <a:extLst>
              <a:ext uri="{FF2B5EF4-FFF2-40B4-BE49-F238E27FC236}">
                <a16:creationId xmlns:a16="http://schemas.microsoft.com/office/drawing/2014/main" id="{77800B73-3AE1-4633-874D-44F5B846B28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762279" y="-753032"/>
            <a:ext cx="936519" cy="232366"/>
          </a:xfrm>
          <a:prstGeom prst="rect">
            <a:avLst/>
          </a:prstGeom>
        </p:spPr>
      </p:pic>
      <p:grpSp>
        <p:nvGrpSpPr>
          <p:cNvPr id="9" name="Agrupar 6330">
            <a:extLst>
              <a:ext uri="{FF2B5EF4-FFF2-40B4-BE49-F238E27FC236}">
                <a16:creationId xmlns:a16="http://schemas.microsoft.com/office/drawing/2014/main" id="{92D462DC-653C-F747-A9D8-3DF206D5A5FF}"/>
              </a:ext>
            </a:extLst>
          </p:cNvPr>
          <p:cNvGrpSpPr/>
          <p:nvPr userDrawn="1"/>
        </p:nvGrpSpPr>
        <p:grpSpPr>
          <a:xfrm>
            <a:off x="11735463" y="188690"/>
            <a:ext cx="456537" cy="204176"/>
            <a:chOff x="17393497" y="369865"/>
            <a:chExt cx="894884" cy="400222"/>
          </a:xfrm>
        </p:grpSpPr>
        <p:sp>
          <p:nvSpPr>
            <p:cNvPr id="10" name="Forma Livre: Forma 6321">
              <a:extLst>
                <a:ext uri="{FF2B5EF4-FFF2-40B4-BE49-F238E27FC236}">
                  <a16:creationId xmlns:a16="http://schemas.microsoft.com/office/drawing/2014/main" id="{FE7705BB-D291-594A-AC27-AAAA358F0EF0}"/>
                </a:ext>
              </a:extLst>
            </p:cNvPr>
            <p:cNvSpPr/>
            <p:nvPr/>
          </p:nvSpPr>
          <p:spPr>
            <a:xfrm>
              <a:off x="17393497" y="369865"/>
              <a:ext cx="894884" cy="38080"/>
            </a:xfrm>
            <a:custGeom>
              <a:avLst/>
              <a:gdLst>
                <a:gd name="connsiteX0" fmla="*/ 0 w 894883"/>
                <a:gd name="connsiteY0" fmla="*/ 0 h 38080"/>
                <a:gd name="connsiteX1" fmla="*/ 896883 w 894883"/>
                <a:gd name="connsiteY1" fmla="*/ 0 h 38080"/>
                <a:gd name="connsiteX2" fmla="*/ 896883 w 894883"/>
                <a:gd name="connsiteY2" fmla="*/ 38461 h 38080"/>
                <a:gd name="connsiteX3" fmla="*/ 0 w 894883"/>
                <a:gd name="connsiteY3" fmla="*/ 38461 h 38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4883" h="38080">
                  <a:moveTo>
                    <a:pt x="0" y="0"/>
                  </a:moveTo>
                  <a:lnTo>
                    <a:pt x="896883" y="0"/>
                  </a:lnTo>
                  <a:lnTo>
                    <a:pt x="896883" y="38461"/>
                  </a:lnTo>
                  <a:lnTo>
                    <a:pt x="0" y="38461"/>
                  </a:lnTo>
                  <a:close/>
                </a:path>
              </a:pathLst>
            </a:custGeom>
            <a:solidFill>
              <a:srgbClr val="FF5000"/>
            </a:solidFill>
            <a:ln w="95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pt-BR" sz="689" dirty="0">
                <a:solidFill>
                  <a:srgbClr val="000000"/>
                </a:solidFill>
              </a:endParaRPr>
            </a:p>
          </p:txBody>
        </p:sp>
        <p:sp>
          <p:nvSpPr>
            <p:cNvPr id="11" name="Forma Livre: Forma 6322">
              <a:extLst>
                <a:ext uri="{FF2B5EF4-FFF2-40B4-BE49-F238E27FC236}">
                  <a16:creationId xmlns:a16="http://schemas.microsoft.com/office/drawing/2014/main" id="{D691F90E-4761-1044-8C46-0B2455CD0539}"/>
                </a:ext>
              </a:extLst>
            </p:cNvPr>
            <p:cNvSpPr/>
            <p:nvPr/>
          </p:nvSpPr>
          <p:spPr>
            <a:xfrm>
              <a:off x="17393497" y="490579"/>
              <a:ext cx="894884" cy="38080"/>
            </a:xfrm>
            <a:custGeom>
              <a:avLst/>
              <a:gdLst>
                <a:gd name="connsiteX0" fmla="*/ 0 w 894883"/>
                <a:gd name="connsiteY0" fmla="*/ 0 h 38080"/>
                <a:gd name="connsiteX1" fmla="*/ 896883 w 894883"/>
                <a:gd name="connsiteY1" fmla="*/ 0 h 38080"/>
                <a:gd name="connsiteX2" fmla="*/ 896883 w 894883"/>
                <a:gd name="connsiteY2" fmla="*/ 38461 h 38080"/>
                <a:gd name="connsiteX3" fmla="*/ 0 w 894883"/>
                <a:gd name="connsiteY3" fmla="*/ 38461 h 38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4883" h="38080">
                  <a:moveTo>
                    <a:pt x="0" y="0"/>
                  </a:moveTo>
                  <a:lnTo>
                    <a:pt x="896883" y="0"/>
                  </a:lnTo>
                  <a:lnTo>
                    <a:pt x="896883" y="38461"/>
                  </a:lnTo>
                  <a:lnTo>
                    <a:pt x="0" y="38461"/>
                  </a:lnTo>
                  <a:close/>
                </a:path>
              </a:pathLst>
            </a:custGeom>
            <a:solidFill>
              <a:srgbClr val="FF5000"/>
            </a:solidFill>
            <a:ln w="95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pt-BR" sz="689" dirty="0">
                <a:solidFill>
                  <a:srgbClr val="000000"/>
                </a:solidFill>
              </a:endParaRPr>
            </a:p>
          </p:txBody>
        </p:sp>
        <p:sp>
          <p:nvSpPr>
            <p:cNvPr id="12" name="Forma Livre: Forma 6323">
              <a:extLst>
                <a:ext uri="{FF2B5EF4-FFF2-40B4-BE49-F238E27FC236}">
                  <a16:creationId xmlns:a16="http://schemas.microsoft.com/office/drawing/2014/main" id="{8AC2D039-9851-244C-BAA3-FC5BF23C25B9}"/>
                </a:ext>
              </a:extLst>
            </p:cNvPr>
            <p:cNvSpPr/>
            <p:nvPr/>
          </p:nvSpPr>
          <p:spPr>
            <a:xfrm>
              <a:off x="17393497" y="611293"/>
              <a:ext cx="894884" cy="38080"/>
            </a:xfrm>
            <a:custGeom>
              <a:avLst/>
              <a:gdLst>
                <a:gd name="connsiteX0" fmla="*/ 0 w 894883"/>
                <a:gd name="connsiteY0" fmla="*/ 0 h 38080"/>
                <a:gd name="connsiteX1" fmla="*/ 896883 w 894883"/>
                <a:gd name="connsiteY1" fmla="*/ 0 h 38080"/>
                <a:gd name="connsiteX2" fmla="*/ 896883 w 894883"/>
                <a:gd name="connsiteY2" fmla="*/ 38461 h 38080"/>
                <a:gd name="connsiteX3" fmla="*/ 0 w 894883"/>
                <a:gd name="connsiteY3" fmla="*/ 38461 h 38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4883" h="38080">
                  <a:moveTo>
                    <a:pt x="0" y="0"/>
                  </a:moveTo>
                  <a:lnTo>
                    <a:pt x="896883" y="0"/>
                  </a:lnTo>
                  <a:lnTo>
                    <a:pt x="896883" y="38461"/>
                  </a:lnTo>
                  <a:lnTo>
                    <a:pt x="0" y="38461"/>
                  </a:lnTo>
                  <a:close/>
                </a:path>
              </a:pathLst>
            </a:custGeom>
            <a:solidFill>
              <a:srgbClr val="FF5000"/>
            </a:solidFill>
            <a:ln w="95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pt-BR" sz="689" dirty="0">
                <a:solidFill>
                  <a:srgbClr val="000000"/>
                </a:solidFill>
              </a:endParaRPr>
            </a:p>
          </p:txBody>
        </p:sp>
        <p:sp>
          <p:nvSpPr>
            <p:cNvPr id="13" name="Forma Livre: Forma 6324">
              <a:extLst>
                <a:ext uri="{FF2B5EF4-FFF2-40B4-BE49-F238E27FC236}">
                  <a16:creationId xmlns:a16="http://schemas.microsoft.com/office/drawing/2014/main" id="{223E0C72-FF2F-174F-B0BA-69F8BCB943BE}"/>
                </a:ext>
              </a:extLst>
            </p:cNvPr>
            <p:cNvSpPr/>
            <p:nvPr/>
          </p:nvSpPr>
          <p:spPr>
            <a:xfrm>
              <a:off x="17393497" y="732007"/>
              <a:ext cx="894884" cy="38080"/>
            </a:xfrm>
            <a:custGeom>
              <a:avLst/>
              <a:gdLst>
                <a:gd name="connsiteX0" fmla="*/ 0 w 894883"/>
                <a:gd name="connsiteY0" fmla="*/ 0 h 38080"/>
                <a:gd name="connsiteX1" fmla="*/ 896883 w 894883"/>
                <a:gd name="connsiteY1" fmla="*/ 0 h 38080"/>
                <a:gd name="connsiteX2" fmla="*/ 896883 w 894883"/>
                <a:gd name="connsiteY2" fmla="*/ 38461 h 38080"/>
                <a:gd name="connsiteX3" fmla="*/ 0 w 894883"/>
                <a:gd name="connsiteY3" fmla="*/ 38461 h 38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4883" h="38080">
                  <a:moveTo>
                    <a:pt x="0" y="0"/>
                  </a:moveTo>
                  <a:lnTo>
                    <a:pt x="896883" y="0"/>
                  </a:lnTo>
                  <a:lnTo>
                    <a:pt x="896883" y="38461"/>
                  </a:lnTo>
                  <a:lnTo>
                    <a:pt x="0" y="38461"/>
                  </a:lnTo>
                  <a:close/>
                </a:path>
              </a:pathLst>
            </a:custGeom>
            <a:solidFill>
              <a:srgbClr val="FF5000"/>
            </a:solidFill>
            <a:ln w="95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pt-BR" sz="689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4" name="Picture 25" descr="NexaLogo.png">
            <a:extLst>
              <a:ext uri="{FF2B5EF4-FFF2-40B4-BE49-F238E27FC236}">
                <a16:creationId xmlns:a16="http://schemas.microsoft.com/office/drawing/2014/main" id="{849F3190-BB8B-734C-81A8-FEC2FC177F4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710" y="6530106"/>
            <a:ext cx="866170" cy="215096"/>
          </a:xfrm>
          <a:prstGeom prst="rect">
            <a:avLst/>
          </a:prstGeom>
        </p:spPr>
      </p:pic>
      <p:pic>
        <p:nvPicPr>
          <p:cNvPr id="15" name="Imagem 6326">
            <a:extLst>
              <a:ext uri="{FF2B5EF4-FFF2-40B4-BE49-F238E27FC236}">
                <a16:creationId xmlns:a16="http://schemas.microsoft.com/office/drawing/2014/main" id="{3C5D860F-57A5-CB4D-B67C-9DAB5E5ABF7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83764" y="189654"/>
            <a:ext cx="368253" cy="391429"/>
          </a:xfrm>
          <a:custGeom>
            <a:avLst/>
            <a:gdLst>
              <a:gd name="connsiteX0" fmla="*/ 0 w 1123364"/>
              <a:gd name="connsiteY0" fmla="*/ 0 h 1123364"/>
              <a:gd name="connsiteX1" fmla="*/ 1129682 w 1123364"/>
              <a:gd name="connsiteY1" fmla="*/ 0 h 1123364"/>
              <a:gd name="connsiteX2" fmla="*/ 1129682 w 1123364"/>
              <a:gd name="connsiteY2" fmla="*/ 1129682 h 1123364"/>
              <a:gd name="connsiteX3" fmla="*/ 0 w 1123364"/>
              <a:gd name="connsiteY3" fmla="*/ 1129682 h 1123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23364" h="1123364">
                <a:moveTo>
                  <a:pt x="0" y="0"/>
                </a:moveTo>
                <a:lnTo>
                  <a:pt x="1129682" y="0"/>
                </a:lnTo>
                <a:lnTo>
                  <a:pt x="1129682" y="1129682"/>
                </a:lnTo>
                <a:lnTo>
                  <a:pt x="0" y="1129682"/>
                </a:lnTo>
                <a:close/>
              </a:path>
            </a:pathLst>
          </a:custGeom>
          <a:ln/>
        </p:spPr>
      </p:pic>
      <p:pic>
        <p:nvPicPr>
          <p:cNvPr id="16" name="Imagem 6327">
            <a:extLst>
              <a:ext uri="{FF2B5EF4-FFF2-40B4-BE49-F238E27FC236}">
                <a16:creationId xmlns:a16="http://schemas.microsoft.com/office/drawing/2014/main" id="{CE548388-9EA7-C24C-B238-5EDC12D3CF1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7454" y="207447"/>
            <a:ext cx="334775" cy="355845"/>
          </a:xfrm>
          <a:custGeom>
            <a:avLst/>
            <a:gdLst>
              <a:gd name="connsiteX0" fmla="*/ 0 w 1123364"/>
              <a:gd name="connsiteY0" fmla="*/ 0 h 1123364"/>
              <a:gd name="connsiteX1" fmla="*/ 1129682 w 1123364"/>
              <a:gd name="connsiteY1" fmla="*/ 0 h 1123364"/>
              <a:gd name="connsiteX2" fmla="*/ 1129682 w 1123364"/>
              <a:gd name="connsiteY2" fmla="*/ 1129682 h 1123364"/>
              <a:gd name="connsiteX3" fmla="*/ 0 w 1123364"/>
              <a:gd name="connsiteY3" fmla="*/ 1129682 h 1123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23364" h="1123364">
                <a:moveTo>
                  <a:pt x="0" y="0"/>
                </a:moveTo>
                <a:lnTo>
                  <a:pt x="1129682" y="0"/>
                </a:lnTo>
                <a:lnTo>
                  <a:pt x="1129682" y="1129682"/>
                </a:lnTo>
                <a:lnTo>
                  <a:pt x="0" y="1129682"/>
                </a:lnTo>
                <a:close/>
              </a:path>
            </a:pathLst>
          </a:custGeom>
          <a:ln/>
        </p:spPr>
      </p:pic>
      <p:grpSp>
        <p:nvGrpSpPr>
          <p:cNvPr id="17" name="Grupo 15">
            <a:extLst>
              <a:ext uri="{FF2B5EF4-FFF2-40B4-BE49-F238E27FC236}">
                <a16:creationId xmlns:a16="http://schemas.microsoft.com/office/drawing/2014/main" id="{FA9D59A3-7055-E943-9E6F-15047D73F773}"/>
              </a:ext>
            </a:extLst>
          </p:cNvPr>
          <p:cNvGrpSpPr/>
          <p:nvPr userDrawn="1"/>
        </p:nvGrpSpPr>
        <p:grpSpPr>
          <a:xfrm>
            <a:off x="1" y="1367"/>
            <a:ext cx="585829" cy="715668"/>
            <a:chOff x="0" y="1339"/>
            <a:chExt cx="929014" cy="1134932"/>
          </a:xfrm>
        </p:grpSpPr>
        <p:sp>
          <p:nvSpPr>
            <p:cNvPr id="18" name="Forma Livre: Forma 6311">
              <a:extLst>
                <a:ext uri="{FF2B5EF4-FFF2-40B4-BE49-F238E27FC236}">
                  <a16:creationId xmlns:a16="http://schemas.microsoft.com/office/drawing/2014/main" id="{0DC1A6A0-AA9C-B447-883B-6F6BA9501A61}"/>
                </a:ext>
              </a:extLst>
            </p:cNvPr>
            <p:cNvSpPr/>
            <p:nvPr/>
          </p:nvSpPr>
          <p:spPr>
            <a:xfrm>
              <a:off x="835860" y="983950"/>
              <a:ext cx="19040" cy="152321"/>
            </a:xfrm>
            <a:custGeom>
              <a:avLst/>
              <a:gdLst>
                <a:gd name="connsiteX0" fmla="*/ 23705 w 38080"/>
                <a:gd name="connsiteY0" fmla="*/ 0 h 304641"/>
                <a:gd name="connsiteX1" fmla="*/ 0 w 38080"/>
                <a:gd name="connsiteY1" fmla="*/ 21706 h 304641"/>
                <a:gd name="connsiteX2" fmla="*/ 0 w 38080"/>
                <a:gd name="connsiteY2" fmla="*/ 290552 h 304641"/>
                <a:gd name="connsiteX3" fmla="*/ 23705 w 38080"/>
                <a:gd name="connsiteY3" fmla="*/ 312257 h 304641"/>
                <a:gd name="connsiteX4" fmla="*/ 47410 w 38080"/>
                <a:gd name="connsiteY4" fmla="*/ 290552 h 304641"/>
                <a:gd name="connsiteX5" fmla="*/ 47410 w 38080"/>
                <a:gd name="connsiteY5" fmla="*/ 21706 h 304641"/>
                <a:gd name="connsiteX6" fmla="*/ 23705 w 38080"/>
                <a:gd name="connsiteY6" fmla="*/ 0 h 304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080" h="304641">
                  <a:moveTo>
                    <a:pt x="23705" y="0"/>
                  </a:moveTo>
                  <a:cubicBezTo>
                    <a:pt x="10567" y="0"/>
                    <a:pt x="0" y="9710"/>
                    <a:pt x="0" y="21706"/>
                  </a:cubicBezTo>
                  <a:lnTo>
                    <a:pt x="0" y="290552"/>
                  </a:lnTo>
                  <a:cubicBezTo>
                    <a:pt x="0" y="302547"/>
                    <a:pt x="10662" y="312257"/>
                    <a:pt x="23705" y="312257"/>
                  </a:cubicBezTo>
                  <a:cubicBezTo>
                    <a:pt x="36843" y="312257"/>
                    <a:pt x="47410" y="302547"/>
                    <a:pt x="47410" y="290552"/>
                  </a:cubicBezTo>
                  <a:lnTo>
                    <a:pt x="47410" y="21706"/>
                  </a:lnTo>
                  <a:cubicBezTo>
                    <a:pt x="47410" y="9806"/>
                    <a:pt x="36747" y="0"/>
                    <a:pt x="23705" y="0"/>
                  </a:cubicBezTo>
                  <a:close/>
                </a:path>
              </a:pathLst>
            </a:custGeom>
            <a:solidFill>
              <a:srgbClr val="FF5000"/>
            </a:solidFill>
            <a:ln w="95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pt-BR" sz="689" dirty="0">
                <a:solidFill>
                  <a:srgbClr val="000000"/>
                </a:solidFill>
              </a:endParaRPr>
            </a:p>
          </p:txBody>
        </p:sp>
        <p:sp>
          <p:nvSpPr>
            <p:cNvPr id="19" name="Forma Livre: Forma 6312">
              <a:extLst>
                <a:ext uri="{FF2B5EF4-FFF2-40B4-BE49-F238E27FC236}">
                  <a16:creationId xmlns:a16="http://schemas.microsoft.com/office/drawing/2014/main" id="{DAF47366-BF6A-744B-9F60-2758580A2138}"/>
                </a:ext>
              </a:extLst>
            </p:cNvPr>
            <p:cNvSpPr/>
            <p:nvPr/>
          </p:nvSpPr>
          <p:spPr>
            <a:xfrm>
              <a:off x="762413" y="1051161"/>
              <a:ext cx="166601" cy="19040"/>
            </a:xfrm>
            <a:custGeom>
              <a:avLst/>
              <a:gdLst>
                <a:gd name="connsiteX0" fmla="*/ 317398 w 333201"/>
                <a:gd name="connsiteY0" fmla="*/ 0 h 38080"/>
                <a:gd name="connsiteX1" fmla="*/ 23705 w 333201"/>
                <a:gd name="connsiteY1" fmla="*/ 0 h 38080"/>
                <a:gd name="connsiteX2" fmla="*/ 0 w 333201"/>
                <a:gd name="connsiteY2" fmla="*/ 21706 h 38080"/>
                <a:gd name="connsiteX3" fmla="*/ 23705 w 333201"/>
                <a:gd name="connsiteY3" fmla="*/ 43411 h 38080"/>
                <a:gd name="connsiteX4" fmla="*/ 317398 w 333201"/>
                <a:gd name="connsiteY4" fmla="*/ 43411 h 38080"/>
                <a:gd name="connsiteX5" fmla="*/ 341103 w 333201"/>
                <a:gd name="connsiteY5" fmla="*/ 21706 h 38080"/>
                <a:gd name="connsiteX6" fmla="*/ 317398 w 333201"/>
                <a:gd name="connsiteY6" fmla="*/ 0 h 38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201" h="38080">
                  <a:moveTo>
                    <a:pt x="317398" y="0"/>
                  </a:moveTo>
                  <a:lnTo>
                    <a:pt x="23705" y="0"/>
                  </a:lnTo>
                  <a:cubicBezTo>
                    <a:pt x="10567" y="0"/>
                    <a:pt x="0" y="9710"/>
                    <a:pt x="0" y="21706"/>
                  </a:cubicBezTo>
                  <a:cubicBezTo>
                    <a:pt x="0" y="33701"/>
                    <a:pt x="10662" y="43411"/>
                    <a:pt x="23705" y="43411"/>
                  </a:cubicBezTo>
                  <a:lnTo>
                    <a:pt x="317398" y="43411"/>
                  </a:lnTo>
                  <a:cubicBezTo>
                    <a:pt x="330536" y="43411"/>
                    <a:pt x="341103" y="33701"/>
                    <a:pt x="341103" y="21706"/>
                  </a:cubicBezTo>
                  <a:cubicBezTo>
                    <a:pt x="341103" y="9710"/>
                    <a:pt x="330536" y="0"/>
                    <a:pt x="317398" y="0"/>
                  </a:cubicBezTo>
                  <a:close/>
                </a:path>
              </a:pathLst>
            </a:custGeom>
            <a:solidFill>
              <a:srgbClr val="FF5000"/>
            </a:solidFill>
            <a:ln w="95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pt-BR" sz="689" dirty="0">
                <a:solidFill>
                  <a:srgbClr val="000000"/>
                </a:solidFill>
              </a:endParaRPr>
            </a:p>
          </p:txBody>
        </p:sp>
        <p:pic>
          <p:nvPicPr>
            <p:cNvPr id="20" name="Imagem 19">
              <a:extLst>
                <a:ext uri="{FF2B5EF4-FFF2-40B4-BE49-F238E27FC236}">
                  <a16:creationId xmlns:a16="http://schemas.microsoft.com/office/drawing/2014/main" id="{C08E4826-B0FB-0A4C-9468-101A665EEC0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0" y="1339"/>
              <a:ext cx="847284" cy="1090045"/>
            </a:xfrm>
            <a:custGeom>
              <a:avLst/>
              <a:gdLst>
                <a:gd name="connsiteX0" fmla="*/ 0 w 1694567"/>
                <a:gd name="connsiteY0" fmla="*/ 0 h 2180089"/>
                <a:gd name="connsiteX1" fmla="*/ 1694964 w 1694567"/>
                <a:gd name="connsiteY1" fmla="*/ 0 h 2180089"/>
                <a:gd name="connsiteX2" fmla="*/ 1694964 w 1694567"/>
                <a:gd name="connsiteY2" fmla="*/ 2189328 h 2180089"/>
                <a:gd name="connsiteX3" fmla="*/ 0 w 1694567"/>
                <a:gd name="connsiteY3" fmla="*/ 2189328 h 2180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94567" h="2180089">
                  <a:moveTo>
                    <a:pt x="0" y="0"/>
                  </a:moveTo>
                  <a:lnTo>
                    <a:pt x="1694964" y="0"/>
                  </a:lnTo>
                  <a:lnTo>
                    <a:pt x="1694964" y="2189328"/>
                  </a:lnTo>
                  <a:lnTo>
                    <a:pt x="0" y="2189328"/>
                  </a:lnTo>
                  <a:close/>
                </a:path>
              </a:pathLst>
            </a:custGeom>
            <a:ln/>
          </p:spPr>
        </p:pic>
      </p:grpSp>
      <p:pic>
        <p:nvPicPr>
          <p:cNvPr id="21" name="Imagem 20">
            <a:extLst>
              <a:ext uri="{FF2B5EF4-FFF2-40B4-BE49-F238E27FC236}">
                <a16:creationId xmlns:a16="http://schemas.microsoft.com/office/drawing/2014/main" id="{6CB0EC24-09F5-6443-88E2-CB8180548B8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474233" y="6398121"/>
            <a:ext cx="717767" cy="459880"/>
          </a:xfrm>
          <a:custGeom>
            <a:avLst/>
            <a:gdLst>
              <a:gd name="connsiteX0" fmla="*/ 0 w 4769540"/>
              <a:gd name="connsiteY0" fmla="*/ 0 h 3055933"/>
              <a:gd name="connsiteX1" fmla="*/ 4772326 w 4769540"/>
              <a:gd name="connsiteY1" fmla="*/ 0 h 3055933"/>
              <a:gd name="connsiteX2" fmla="*/ 4772326 w 4769540"/>
              <a:gd name="connsiteY2" fmla="*/ 3060008 h 3055933"/>
              <a:gd name="connsiteX3" fmla="*/ 0 w 4769540"/>
              <a:gd name="connsiteY3" fmla="*/ 3060008 h 3055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69540" h="3055933">
                <a:moveTo>
                  <a:pt x="0" y="0"/>
                </a:moveTo>
                <a:lnTo>
                  <a:pt x="4772326" y="0"/>
                </a:lnTo>
                <a:lnTo>
                  <a:pt x="4772326" y="3060008"/>
                </a:lnTo>
                <a:lnTo>
                  <a:pt x="0" y="3060008"/>
                </a:lnTo>
                <a:close/>
              </a:path>
            </a:pathLst>
          </a:custGeom>
          <a:ln/>
        </p:spPr>
      </p:pic>
      <p:pic>
        <p:nvPicPr>
          <p:cNvPr id="22" name="Imagem 6325">
            <a:extLst>
              <a:ext uri="{FF2B5EF4-FFF2-40B4-BE49-F238E27FC236}">
                <a16:creationId xmlns:a16="http://schemas.microsoft.com/office/drawing/2014/main" id="{25101C7E-A22C-3445-9DCD-0A8C6E79807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9595" y="227388"/>
            <a:ext cx="304341" cy="323495"/>
          </a:xfrm>
          <a:custGeom>
            <a:avLst/>
            <a:gdLst>
              <a:gd name="connsiteX0" fmla="*/ 0 w 1123364"/>
              <a:gd name="connsiteY0" fmla="*/ 0 h 1123364"/>
              <a:gd name="connsiteX1" fmla="*/ 1129682 w 1123364"/>
              <a:gd name="connsiteY1" fmla="*/ 0 h 1123364"/>
              <a:gd name="connsiteX2" fmla="*/ 1129682 w 1123364"/>
              <a:gd name="connsiteY2" fmla="*/ 1129682 h 1123364"/>
              <a:gd name="connsiteX3" fmla="*/ 0 w 1123364"/>
              <a:gd name="connsiteY3" fmla="*/ 1129682 h 1123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23364" h="1123364">
                <a:moveTo>
                  <a:pt x="0" y="0"/>
                </a:moveTo>
                <a:lnTo>
                  <a:pt x="1129682" y="0"/>
                </a:lnTo>
                <a:lnTo>
                  <a:pt x="1129682" y="1129682"/>
                </a:lnTo>
                <a:lnTo>
                  <a:pt x="0" y="1129682"/>
                </a:lnTo>
                <a:close/>
              </a:path>
            </a:pathLst>
          </a:custGeom>
          <a:ln/>
        </p:spPr>
      </p:pic>
    </p:spTree>
    <p:extLst>
      <p:ext uri="{BB962C8B-B14F-4D97-AF65-F5344CB8AC3E}">
        <p14:creationId xmlns:p14="http://schemas.microsoft.com/office/powerpoint/2010/main" val="39100260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- Contracapa 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orma Livre: Forma 6310">
            <a:extLst>
              <a:ext uri="{FF2B5EF4-FFF2-40B4-BE49-F238E27FC236}">
                <a16:creationId xmlns:a16="http://schemas.microsoft.com/office/drawing/2014/main" id="{F0564D02-8062-4D6E-9B6E-4F85FCD3A973}"/>
              </a:ext>
            </a:extLst>
          </p:cNvPr>
          <p:cNvSpPr/>
          <p:nvPr userDrawn="1"/>
        </p:nvSpPr>
        <p:spPr>
          <a:xfrm>
            <a:off x="1" y="1786"/>
            <a:ext cx="12192000" cy="6854431"/>
          </a:xfrm>
          <a:custGeom>
            <a:avLst/>
            <a:gdLst>
              <a:gd name="connsiteX0" fmla="*/ 0 w 18288000"/>
              <a:gd name="connsiteY0" fmla="*/ 0 h 10281645"/>
              <a:gd name="connsiteX1" fmla="*/ 18290284 w 18288000"/>
              <a:gd name="connsiteY1" fmla="*/ 0 h 10281645"/>
              <a:gd name="connsiteX2" fmla="*/ 18290284 w 18288000"/>
              <a:gd name="connsiteY2" fmla="*/ 10281645 h 10281645"/>
              <a:gd name="connsiteX3" fmla="*/ 0 w 18288000"/>
              <a:gd name="connsiteY3" fmla="*/ 10281645 h 102816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288000" h="10281645">
                <a:moveTo>
                  <a:pt x="0" y="0"/>
                </a:moveTo>
                <a:lnTo>
                  <a:pt x="18290284" y="0"/>
                </a:lnTo>
                <a:lnTo>
                  <a:pt x="18290284" y="10281645"/>
                </a:lnTo>
                <a:lnTo>
                  <a:pt x="0" y="10281645"/>
                </a:lnTo>
                <a:close/>
              </a:path>
            </a:pathLst>
          </a:custGeom>
          <a:solidFill>
            <a:srgbClr val="1E1E1E"/>
          </a:solidFill>
          <a:ln w="9520" cap="flat">
            <a:noFill/>
            <a:prstDash val="solid"/>
            <a:miter/>
          </a:ln>
        </p:spPr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pt-BR" sz="900" dirty="0">
              <a:solidFill>
                <a:srgbClr val="000000"/>
              </a:solidFill>
            </a:endParaRPr>
          </a:p>
        </p:txBody>
      </p:sp>
      <p:pic>
        <p:nvPicPr>
          <p:cNvPr id="37" name="Imagem 36">
            <a:extLst>
              <a:ext uri="{FF2B5EF4-FFF2-40B4-BE49-F238E27FC236}">
                <a16:creationId xmlns:a16="http://schemas.microsoft.com/office/drawing/2014/main" id="{FE2060D7-32AE-4013-914A-11503DC7253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37808" y="6114198"/>
            <a:ext cx="1153513" cy="739077"/>
          </a:xfrm>
          <a:custGeom>
            <a:avLst/>
            <a:gdLst>
              <a:gd name="connsiteX0" fmla="*/ 0 w 4769540"/>
              <a:gd name="connsiteY0" fmla="*/ 0 h 3055933"/>
              <a:gd name="connsiteX1" fmla="*/ 4772326 w 4769540"/>
              <a:gd name="connsiteY1" fmla="*/ 0 h 3055933"/>
              <a:gd name="connsiteX2" fmla="*/ 4772326 w 4769540"/>
              <a:gd name="connsiteY2" fmla="*/ 3060008 h 3055933"/>
              <a:gd name="connsiteX3" fmla="*/ 0 w 4769540"/>
              <a:gd name="connsiteY3" fmla="*/ 3060008 h 3055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69540" h="3055933">
                <a:moveTo>
                  <a:pt x="0" y="0"/>
                </a:moveTo>
                <a:lnTo>
                  <a:pt x="4772326" y="0"/>
                </a:lnTo>
                <a:lnTo>
                  <a:pt x="4772326" y="3060008"/>
                </a:lnTo>
                <a:lnTo>
                  <a:pt x="0" y="3060008"/>
                </a:lnTo>
                <a:close/>
              </a:path>
            </a:pathLst>
          </a:custGeom>
          <a:ln/>
        </p:spPr>
      </p:pic>
      <p:grpSp>
        <p:nvGrpSpPr>
          <p:cNvPr id="58" name="Grupo 57"/>
          <p:cNvGrpSpPr/>
          <p:nvPr userDrawn="1"/>
        </p:nvGrpSpPr>
        <p:grpSpPr>
          <a:xfrm>
            <a:off x="0" y="1"/>
            <a:ext cx="729326" cy="976393"/>
            <a:chOff x="0" y="1339"/>
            <a:chExt cx="929014" cy="1134932"/>
          </a:xfrm>
        </p:grpSpPr>
        <p:sp>
          <p:nvSpPr>
            <p:cNvPr id="59" name="Forma Livre: Forma 6311">
              <a:extLst>
                <a:ext uri="{FF2B5EF4-FFF2-40B4-BE49-F238E27FC236}">
                  <a16:creationId xmlns:a16="http://schemas.microsoft.com/office/drawing/2014/main" id="{4A2E10C2-A2B4-40D8-A5B3-1BA876EC8E3A}"/>
                </a:ext>
              </a:extLst>
            </p:cNvPr>
            <p:cNvSpPr/>
            <p:nvPr/>
          </p:nvSpPr>
          <p:spPr>
            <a:xfrm>
              <a:off x="835860" y="983950"/>
              <a:ext cx="19040" cy="152321"/>
            </a:xfrm>
            <a:custGeom>
              <a:avLst/>
              <a:gdLst>
                <a:gd name="connsiteX0" fmla="*/ 23705 w 38080"/>
                <a:gd name="connsiteY0" fmla="*/ 0 h 304641"/>
                <a:gd name="connsiteX1" fmla="*/ 0 w 38080"/>
                <a:gd name="connsiteY1" fmla="*/ 21706 h 304641"/>
                <a:gd name="connsiteX2" fmla="*/ 0 w 38080"/>
                <a:gd name="connsiteY2" fmla="*/ 290552 h 304641"/>
                <a:gd name="connsiteX3" fmla="*/ 23705 w 38080"/>
                <a:gd name="connsiteY3" fmla="*/ 312257 h 304641"/>
                <a:gd name="connsiteX4" fmla="*/ 47410 w 38080"/>
                <a:gd name="connsiteY4" fmla="*/ 290552 h 304641"/>
                <a:gd name="connsiteX5" fmla="*/ 47410 w 38080"/>
                <a:gd name="connsiteY5" fmla="*/ 21706 h 304641"/>
                <a:gd name="connsiteX6" fmla="*/ 23705 w 38080"/>
                <a:gd name="connsiteY6" fmla="*/ 0 h 304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080" h="304641">
                  <a:moveTo>
                    <a:pt x="23705" y="0"/>
                  </a:moveTo>
                  <a:cubicBezTo>
                    <a:pt x="10567" y="0"/>
                    <a:pt x="0" y="9710"/>
                    <a:pt x="0" y="21706"/>
                  </a:cubicBezTo>
                  <a:lnTo>
                    <a:pt x="0" y="290552"/>
                  </a:lnTo>
                  <a:cubicBezTo>
                    <a:pt x="0" y="302547"/>
                    <a:pt x="10662" y="312257"/>
                    <a:pt x="23705" y="312257"/>
                  </a:cubicBezTo>
                  <a:cubicBezTo>
                    <a:pt x="36843" y="312257"/>
                    <a:pt x="47410" y="302547"/>
                    <a:pt x="47410" y="290552"/>
                  </a:cubicBezTo>
                  <a:lnTo>
                    <a:pt x="47410" y="21706"/>
                  </a:lnTo>
                  <a:cubicBezTo>
                    <a:pt x="47410" y="9806"/>
                    <a:pt x="36747" y="0"/>
                    <a:pt x="23705" y="0"/>
                  </a:cubicBezTo>
                  <a:close/>
                </a:path>
              </a:pathLst>
            </a:custGeom>
            <a:solidFill>
              <a:srgbClr val="FF5000"/>
            </a:solidFill>
            <a:ln w="95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pt-BR" sz="900" dirty="0">
                <a:solidFill>
                  <a:srgbClr val="000000"/>
                </a:solidFill>
              </a:endParaRPr>
            </a:p>
          </p:txBody>
        </p:sp>
        <p:sp>
          <p:nvSpPr>
            <p:cNvPr id="60" name="Forma Livre: Forma 6312">
              <a:extLst>
                <a:ext uri="{FF2B5EF4-FFF2-40B4-BE49-F238E27FC236}">
                  <a16:creationId xmlns:a16="http://schemas.microsoft.com/office/drawing/2014/main" id="{425F0157-04AB-4B78-85D9-0DD854B75797}"/>
                </a:ext>
              </a:extLst>
            </p:cNvPr>
            <p:cNvSpPr/>
            <p:nvPr/>
          </p:nvSpPr>
          <p:spPr>
            <a:xfrm>
              <a:off x="762413" y="1051161"/>
              <a:ext cx="166601" cy="19040"/>
            </a:xfrm>
            <a:custGeom>
              <a:avLst/>
              <a:gdLst>
                <a:gd name="connsiteX0" fmla="*/ 317398 w 333201"/>
                <a:gd name="connsiteY0" fmla="*/ 0 h 38080"/>
                <a:gd name="connsiteX1" fmla="*/ 23705 w 333201"/>
                <a:gd name="connsiteY1" fmla="*/ 0 h 38080"/>
                <a:gd name="connsiteX2" fmla="*/ 0 w 333201"/>
                <a:gd name="connsiteY2" fmla="*/ 21706 h 38080"/>
                <a:gd name="connsiteX3" fmla="*/ 23705 w 333201"/>
                <a:gd name="connsiteY3" fmla="*/ 43411 h 38080"/>
                <a:gd name="connsiteX4" fmla="*/ 317398 w 333201"/>
                <a:gd name="connsiteY4" fmla="*/ 43411 h 38080"/>
                <a:gd name="connsiteX5" fmla="*/ 341103 w 333201"/>
                <a:gd name="connsiteY5" fmla="*/ 21706 h 38080"/>
                <a:gd name="connsiteX6" fmla="*/ 317398 w 333201"/>
                <a:gd name="connsiteY6" fmla="*/ 0 h 38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201" h="38080">
                  <a:moveTo>
                    <a:pt x="317398" y="0"/>
                  </a:moveTo>
                  <a:lnTo>
                    <a:pt x="23705" y="0"/>
                  </a:lnTo>
                  <a:cubicBezTo>
                    <a:pt x="10567" y="0"/>
                    <a:pt x="0" y="9710"/>
                    <a:pt x="0" y="21706"/>
                  </a:cubicBezTo>
                  <a:cubicBezTo>
                    <a:pt x="0" y="33701"/>
                    <a:pt x="10662" y="43411"/>
                    <a:pt x="23705" y="43411"/>
                  </a:cubicBezTo>
                  <a:lnTo>
                    <a:pt x="317398" y="43411"/>
                  </a:lnTo>
                  <a:cubicBezTo>
                    <a:pt x="330536" y="43411"/>
                    <a:pt x="341103" y="33701"/>
                    <a:pt x="341103" y="21706"/>
                  </a:cubicBezTo>
                  <a:cubicBezTo>
                    <a:pt x="341103" y="9710"/>
                    <a:pt x="330536" y="0"/>
                    <a:pt x="317398" y="0"/>
                  </a:cubicBezTo>
                  <a:close/>
                </a:path>
              </a:pathLst>
            </a:custGeom>
            <a:solidFill>
              <a:srgbClr val="FF5000"/>
            </a:solidFill>
            <a:ln w="95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pt-BR" sz="900" dirty="0">
                <a:solidFill>
                  <a:srgbClr val="000000"/>
                </a:solidFill>
              </a:endParaRPr>
            </a:p>
          </p:txBody>
        </p:sp>
        <p:pic>
          <p:nvPicPr>
            <p:cNvPr id="61" name="Imagem 60">
              <a:extLst>
                <a:ext uri="{FF2B5EF4-FFF2-40B4-BE49-F238E27FC236}">
                  <a16:creationId xmlns:a16="http://schemas.microsoft.com/office/drawing/2014/main" id="{1A0BC1A6-6F9C-4D66-AFC0-D6C8F3ACD2C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1339"/>
              <a:ext cx="847283" cy="1090046"/>
            </a:xfrm>
            <a:custGeom>
              <a:avLst/>
              <a:gdLst>
                <a:gd name="connsiteX0" fmla="*/ 0 w 1694567"/>
                <a:gd name="connsiteY0" fmla="*/ 0 h 2180089"/>
                <a:gd name="connsiteX1" fmla="*/ 1694964 w 1694567"/>
                <a:gd name="connsiteY1" fmla="*/ 0 h 2180089"/>
                <a:gd name="connsiteX2" fmla="*/ 1694964 w 1694567"/>
                <a:gd name="connsiteY2" fmla="*/ 2189328 h 2180089"/>
                <a:gd name="connsiteX3" fmla="*/ 0 w 1694567"/>
                <a:gd name="connsiteY3" fmla="*/ 2189328 h 2180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94567" h="2180089">
                  <a:moveTo>
                    <a:pt x="0" y="0"/>
                  </a:moveTo>
                  <a:lnTo>
                    <a:pt x="1694964" y="0"/>
                  </a:lnTo>
                  <a:lnTo>
                    <a:pt x="1694964" y="2189328"/>
                  </a:lnTo>
                  <a:lnTo>
                    <a:pt x="0" y="2189328"/>
                  </a:lnTo>
                  <a:close/>
                </a:path>
              </a:pathLst>
            </a:custGeom>
            <a:ln/>
          </p:spPr>
        </p:pic>
      </p:grpSp>
      <p:pic>
        <p:nvPicPr>
          <p:cNvPr id="10" name="Imagem 9"/>
          <p:cNvPicPr>
            <a:picLocks noChangeAspect="1"/>
          </p:cNvPicPr>
          <p:nvPr userDrawn="1"/>
        </p:nvPicPr>
        <p:blipFill rotWithShape="1">
          <a:blip r:embed="rId2"/>
          <a:srcRect l="9435" r="7787"/>
          <a:stretch/>
        </p:blipFill>
        <p:spPr>
          <a:xfrm>
            <a:off x="9443989" y="2250339"/>
            <a:ext cx="2422359" cy="2357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653341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- Contracapa Es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orma Livre: Forma 6310">
            <a:extLst>
              <a:ext uri="{FF2B5EF4-FFF2-40B4-BE49-F238E27FC236}">
                <a16:creationId xmlns:a16="http://schemas.microsoft.com/office/drawing/2014/main" id="{F0564D02-8062-4D6E-9B6E-4F85FCD3A973}"/>
              </a:ext>
            </a:extLst>
          </p:cNvPr>
          <p:cNvSpPr/>
          <p:nvPr userDrawn="1"/>
        </p:nvSpPr>
        <p:spPr>
          <a:xfrm>
            <a:off x="1" y="1786"/>
            <a:ext cx="12192000" cy="6854431"/>
          </a:xfrm>
          <a:custGeom>
            <a:avLst/>
            <a:gdLst>
              <a:gd name="connsiteX0" fmla="*/ 0 w 18288000"/>
              <a:gd name="connsiteY0" fmla="*/ 0 h 10281645"/>
              <a:gd name="connsiteX1" fmla="*/ 18290284 w 18288000"/>
              <a:gd name="connsiteY1" fmla="*/ 0 h 10281645"/>
              <a:gd name="connsiteX2" fmla="*/ 18290284 w 18288000"/>
              <a:gd name="connsiteY2" fmla="*/ 10281645 h 10281645"/>
              <a:gd name="connsiteX3" fmla="*/ 0 w 18288000"/>
              <a:gd name="connsiteY3" fmla="*/ 10281645 h 102816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288000" h="10281645">
                <a:moveTo>
                  <a:pt x="0" y="0"/>
                </a:moveTo>
                <a:lnTo>
                  <a:pt x="18290284" y="0"/>
                </a:lnTo>
                <a:lnTo>
                  <a:pt x="18290284" y="10281645"/>
                </a:lnTo>
                <a:lnTo>
                  <a:pt x="0" y="10281645"/>
                </a:lnTo>
                <a:close/>
              </a:path>
            </a:pathLst>
          </a:custGeom>
          <a:solidFill>
            <a:srgbClr val="1E1E1E"/>
          </a:solidFill>
          <a:ln w="9520" cap="flat">
            <a:noFill/>
            <a:prstDash val="solid"/>
            <a:miter/>
          </a:ln>
        </p:spPr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pt-BR" sz="900" dirty="0">
              <a:solidFill>
                <a:srgbClr val="000000"/>
              </a:solidFill>
            </a:endParaRPr>
          </a:p>
        </p:txBody>
      </p:sp>
      <p:pic>
        <p:nvPicPr>
          <p:cNvPr id="37" name="Imagem 36">
            <a:extLst>
              <a:ext uri="{FF2B5EF4-FFF2-40B4-BE49-F238E27FC236}">
                <a16:creationId xmlns:a16="http://schemas.microsoft.com/office/drawing/2014/main" id="{FE2060D7-32AE-4013-914A-11503DC7253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37808" y="6114198"/>
            <a:ext cx="1153513" cy="739077"/>
          </a:xfrm>
          <a:custGeom>
            <a:avLst/>
            <a:gdLst>
              <a:gd name="connsiteX0" fmla="*/ 0 w 4769540"/>
              <a:gd name="connsiteY0" fmla="*/ 0 h 3055933"/>
              <a:gd name="connsiteX1" fmla="*/ 4772326 w 4769540"/>
              <a:gd name="connsiteY1" fmla="*/ 0 h 3055933"/>
              <a:gd name="connsiteX2" fmla="*/ 4772326 w 4769540"/>
              <a:gd name="connsiteY2" fmla="*/ 3060008 h 3055933"/>
              <a:gd name="connsiteX3" fmla="*/ 0 w 4769540"/>
              <a:gd name="connsiteY3" fmla="*/ 3060008 h 3055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69540" h="3055933">
                <a:moveTo>
                  <a:pt x="0" y="0"/>
                </a:moveTo>
                <a:lnTo>
                  <a:pt x="4772326" y="0"/>
                </a:lnTo>
                <a:lnTo>
                  <a:pt x="4772326" y="3060008"/>
                </a:lnTo>
                <a:lnTo>
                  <a:pt x="0" y="3060008"/>
                </a:lnTo>
                <a:close/>
              </a:path>
            </a:pathLst>
          </a:custGeom>
          <a:ln/>
        </p:spPr>
      </p:pic>
      <p:grpSp>
        <p:nvGrpSpPr>
          <p:cNvPr id="58" name="Grupo 57"/>
          <p:cNvGrpSpPr/>
          <p:nvPr userDrawn="1"/>
        </p:nvGrpSpPr>
        <p:grpSpPr>
          <a:xfrm>
            <a:off x="0" y="1"/>
            <a:ext cx="729326" cy="976393"/>
            <a:chOff x="0" y="1339"/>
            <a:chExt cx="929014" cy="1134932"/>
          </a:xfrm>
        </p:grpSpPr>
        <p:sp>
          <p:nvSpPr>
            <p:cNvPr id="59" name="Forma Livre: Forma 6311">
              <a:extLst>
                <a:ext uri="{FF2B5EF4-FFF2-40B4-BE49-F238E27FC236}">
                  <a16:creationId xmlns:a16="http://schemas.microsoft.com/office/drawing/2014/main" id="{4A2E10C2-A2B4-40D8-A5B3-1BA876EC8E3A}"/>
                </a:ext>
              </a:extLst>
            </p:cNvPr>
            <p:cNvSpPr/>
            <p:nvPr/>
          </p:nvSpPr>
          <p:spPr>
            <a:xfrm>
              <a:off x="835860" y="983950"/>
              <a:ext cx="19040" cy="152321"/>
            </a:xfrm>
            <a:custGeom>
              <a:avLst/>
              <a:gdLst>
                <a:gd name="connsiteX0" fmla="*/ 23705 w 38080"/>
                <a:gd name="connsiteY0" fmla="*/ 0 h 304641"/>
                <a:gd name="connsiteX1" fmla="*/ 0 w 38080"/>
                <a:gd name="connsiteY1" fmla="*/ 21706 h 304641"/>
                <a:gd name="connsiteX2" fmla="*/ 0 w 38080"/>
                <a:gd name="connsiteY2" fmla="*/ 290552 h 304641"/>
                <a:gd name="connsiteX3" fmla="*/ 23705 w 38080"/>
                <a:gd name="connsiteY3" fmla="*/ 312257 h 304641"/>
                <a:gd name="connsiteX4" fmla="*/ 47410 w 38080"/>
                <a:gd name="connsiteY4" fmla="*/ 290552 h 304641"/>
                <a:gd name="connsiteX5" fmla="*/ 47410 w 38080"/>
                <a:gd name="connsiteY5" fmla="*/ 21706 h 304641"/>
                <a:gd name="connsiteX6" fmla="*/ 23705 w 38080"/>
                <a:gd name="connsiteY6" fmla="*/ 0 h 304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080" h="304641">
                  <a:moveTo>
                    <a:pt x="23705" y="0"/>
                  </a:moveTo>
                  <a:cubicBezTo>
                    <a:pt x="10567" y="0"/>
                    <a:pt x="0" y="9710"/>
                    <a:pt x="0" y="21706"/>
                  </a:cubicBezTo>
                  <a:lnTo>
                    <a:pt x="0" y="290552"/>
                  </a:lnTo>
                  <a:cubicBezTo>
                    <a:pt x="0" y="302547"/>
                    <a:pt x="10662" y="312257"/>
                    <a:pt x="23705" y="312257"/>
                  </a:cubicBezTo>
                  <a:cubicBezTo>
                    <a:pt x="36843" y="312257"/>
                    <a:pt x="47410" y="302547"/>
                    <a:pt x="47410" y="290552"/>
                  </a:cubicBezTo>
                  <a:lnTo>
                    <a:pt x="47410" y="21706"/>
                  </a:lnTo>
                  <a:cubicBezTo>
                    <a:pt x="47410" y="9806"/>
                    <a:pt x="36747" y="0"/>
                    <a:pt x="23705" y="0"/>
                  </a:cubicBezTo>
                  <a:close/>
                </a:path>
              </a:pathLst>
            </a:custGeom>
            <a:solidFill>
              <a:srgbClr val="FF5000"/>
            </a:solidFill>
            <a:ln w="95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pt-BR" sz="900" dirty="0">
                <a:solidFill>
                  <a:srgbClr val="000000"/>
                </a:solidFill>
              </a:endParaRPr>
            </a:p>
          </p:txBody>
        </p:sp>
        <p:sp>
          <p:nvSpPr>
            <p:cNvPr id="60" name="Forma Livre: Forma 6312">
              <a:extLst>
                <a:ext uri="{FF2B5EF4-FFF2-40B4-BE49-F238E27FC236}">
                  <a16:creationId xmlns:a16="http://schemas.microsoft.com/office/drawing/2014/main" id="{425F0157-04AB-4B78-85D9-0DD854B75797}"/>
                </a:ext>
              </a:extLst>
            </p:cNvPr>
            <p:cNvSpPr/>
            <p:nvPr/>
          </p:nvSpPr>
          <p:spPr>
            <a:xfrm>
              <a:off x="762413" y="1051161"/>
              <a:ext cx="166601" cy="19040"/>
            </a:xfrm>
            <a:custGeom>
              <a:avLst/>
              <a:gdLst>
                <a:gd name="connsiteX0" fmla="*/ 317398 w 333201"/>
                <a:gd name="connsiteY0" fmla="*/ 0 h 38080"/>
                <a:gd name="connsiteX1" fmla="*/ 23705 w 333201"/>
                <a:gd name="connsiteY1" fmla="*/ 0 h 38080"/>
                <a:gd name="connsiteX2" fmla="*/ 0 w 333201"/>
                <a:gd name="connsiteY2" fmla="*/ 21706 h 38080"/>
                <a:gd name="connsiteX3" fmla="*/ 23705 w 333201"/>
                <a:gd name="connsiteY3" fmla="*/ 43411 h 38080"/>
                <a:gd name="connsiteX4" fmla="*/ 317398 w 333201"/>
                <a:gd name="connsiteY4" fmla="*/ 43411 h 38080"/>
                <a:gd name="connsiteX5" fmla="*/ 341103 w 333201"/>
                <a:gd name="connsiteY5" fmla="*/ 21706 h 38080"/>
                <a:gd name="connsiteX6" fmla="*/ 317398 w 333201"/>
                <a:gd name="connsiteY6" fmla="*/ 0 h 38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201" h="38080">
                  <a:moveTo>
                    <a:pt x="317398" y="0"/>
                  </a:moveTo>
                  <a:lnTo>
                    <a:pt x="23705" y="0"/>
                  </a:lnTo>
                  <a:cubicBezTo>
                    <a:pt x="10567" y="0"/>
                    <a:pt x="0" y="9710"/>
                    <a:pt x="0" y="21706"/>
                  </a:cubicBezTo>
                  <a:cubicBezTo>
                    <a:pt x="0" y="33701"/>
                    <a:pt x="10662" y="43411"/>
                    <a:pt x="23705" y="43411"/>
                  </a:cubicBezTo>
                  <a:lnTo>
                    <a:pt x="317398" y="43411"/>
                  </a:lnTo>
                  <a:cubicBezTo>
                    <a:pt x="330536" y="43411"/>
                    <a:pt x="341103" y="33701"/>
                    <a:pt x="341103" y="21706"/>
                  </a:cubicBezTo>
                  <a:cubicBezTo>
                    <a:pt x="341103" y="9710"/>
                    <a:pt x="330536" y="0"/>
                    <a:pt x="317398" y="0"/>
                  </a:cubicBezTo>
                  <a:close/>
                </a:path>
              </a:pathLst>
            </a:custGeom>
            <a:solidFill>
              <a:srgbClr val="FF5000"/>
            </a:solidFill>
            <a:ln w="95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pt-BR" sz="900" dirty="0">
                <a:solidFill>
                  <a:srgbClr val="000000"/>
                </a:solidFill>
              </a:endParaRPr>
            </a:p>
          </p:txBody>
        </p:sp>
        <p:pic>
          <p:nvPicPr>
            <p:cNvPr id="61" name="Imagem 60">
              <a:extLst>
                <a:ext uri="{FF2B5EF4-FFF2-40B4-BE49-F238E27FC236}">
                  <a16:creationId xmlns:a16="http://schemas.microsoft.com/office/drawing/2014/main" id="{1A0BC1A6-6F9C-4D66-AFC0-D6C8F3ACD2C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1339"/>
              <a:ext cx="847283" cy="1090046"/>
            </a:xfrm>
            <a:custGeom>
              <a:avLst/>
              <a:gdLst>
                <a:gd name="connsiteX0" fmla="*/ 0 w 1694567"/>
                <a:gd name="connsiteY0" fmla="*/ 0 h 2180089"/>
                <a:gd name="connsiteX1" fmla="*/ 1694964 w 1694567"/>
                <a:gd name="connsiteY1" fmla="*/ 0 h 2180089"/>
                <a:gd name="connsiteX2" fmla="*/ 1694964 w 1694567"/>
                <a:gd name="connsiteY2" fmla="*/ 2189328 h 2180089"/>
                <a:gd name="connsiteX3" fmla="*/ 0 w 1694567"/>
                <a:gd name="connsiteY3" fmla="*/ 2189328 h 2180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94567" h="2180089">
                  <a:moveTo>
                    <a:pt x="0" y="0"/>
                  </a:moveTo>
                  <a:lnTo>
                    <a:pt x="1694964" y="0"/>
                  </a:lnTo>
                  <a:lnTo>
                    <a:pt x="1694964" y="2189328"/>
                  </a:lnTo>
                  <a:lnTo>
                    <a:pt x="0" y="2189328"/>
                  </a:lnTo>
                  <a:close/>
                </a:path>
              </a:pathLst>
            </a:custGeom>
            <a:ln/>
          </p:spPr>
        </p:pic>
      </p:grpSp>
      <p:pic>
        <p:nvPicPr>
          <p:cNvPr id="11" name="Imagem 10"/>
          <p:cNvPicPr>
            <a:picLocks noChangeAspect="1"/>
          </p:cNvPicPr>
          <p:nvPr userDrawn="1"/>
        </p:nvPicPr>
        <p:blipFill rotWithShape="1">
          <a:blip r:embed="rId2"/>
          <a:srcRect l="2518" r="7220"/>
          <a:stretch/>
        </p:blipFill>
        <p:spPr>
          <a:xfrm>
            <a:off x="8952299" y="2288838"/>
            <a:ext cx="3051516" cy="2358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836460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4" name="Slide do think-cell" r:id="rId5" imgW="386" imgH="386" progId="TCLayout.ActiveDocument.1">
                  <p:embed/>
                </p:oleObj>
              </mc:Choice>
              <mc:Fallback>
                <p:oleObj name="Slide do think-cell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C6D4636-11AB-466C-B46A-3E11EA656B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04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C1F78CD-9BE4-4B83-8E6D-D0DE69C248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1112"/>
          <a:stretch/>
        </p:blipFill>
        <p:spPr>
          <a:xfrm flipH="1">
            <a:off x="-1" y="1"/>
            <a:ext cx="12192000" cy="6858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735F3FE3-EA8F-4185-85D5-3AE8395E91BC}"/>
              </a:ext>
            </a:extLst>
          </p:cNvPr>
          <p:cNvSpPr/>
          <p:nvPr userDrawn="1"/>
        </p:nvSpPr>
        <p:spPr>
          <a:xfrm>
            <a:off x="1" y="1"/>
            <a:ext cx="12191999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25000"/>
                </a:schemeClr>
              </a:gs>
              <a:gs pos="100000">
                <a:schemeClr val="tx1"/>
              </a:gs>
            </a:gsLst>
            <a:lin ang="81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F3A1090-EE8A-4636-8196-C33A4B95AE8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5697" y="3052492"/>
            <a:ext cx="2003932" cy="753014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827F25B-6EF4-4723-9071-AB4E24D28AD8}"/>
              </a:ext>
            </a:extLst>
          </p:cNvPr>
          <p:cNvSpPr/>
          <p:nvPr userDrawn="1"/>
        </p:nvSpPr>
        <p:spPr>
          <a:xfrm>
            <a:off x="1" y="6811353"/>
            <a:ext cx="12192000" cy="46648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t-BR" sz="1632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652053" y="6639224"/>
            <a:ext cx="170101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816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sz="816" dirty="0">
              <a:solidFill>
                <a:srgbClr val="FFFFFF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 fontAlgn="base">
              <a:spcBef>
                <a:spcPct val="0"/>
              </a:spcBef>
              <a:spcAft>
                <a:spcPct val="0"/>
              </a:spcAft>
            </a:pPr>
            <a:endParaRPr lang="en-US" sz="612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99345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8" name="Slide do think-cell" r:id="rId5" imgW="386" imgH="386" progId="TCLayout.ActiveDocument.1">
                  <p:embed/>
                </p:oleObj>
              </mc:Choice>
              <mc:Fallback>
                <p:oleObj name="Slide do think-cell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C6D4636-11AB-466C-B46A-3E11EA656B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04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652053" y="6639224"/>
            <a:ext cx="170101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816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sz="816" dirty="0">
              <a:solidFill>
                <a:srgbClr val="FFFFFF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 fontAlgn="base">
              <a:spcBef>
                <a:spcPct val="0"/>
              </a:spcBef>
              <a:spcAft>
                <a:spcPct val="0"/>
              </a:spcAft>
            </a:pPr>
            <a:endParaRPr lang="en-US" sz="612" dirty="0">
              <a:solidFill>
                <a:srgbClr val="808080"/>
              </a:solidFill>
            </a:endParaRPr>
          </a:p>
        </p:txBody>
      </p:sp>
      <p:sp>
        <p:nvSpPr>
          <p:cNvPr id="6" name="SlideLogoText" hidden="1">
            <a:extLst>
              <a:ext uri="{FF2B5EF4-FFF2-40B4-BE49-F238E27FC236}">
                <a16:creationId xmlns:a16="http://schemas.microsoft.com/office/drawing/2014/main" id="{EC1836C4-4624-443F-9F3B-8DF897369D91}"/>
              </a:ext>
            </a:extLst>
          </p:cNvPr>
          <p:cNvSpPr txBox="1"/>
          <p:nvPr userDrawn="1"/>
        </p:nvSpPr>
        <p:spPr>
          <a:xfrm>
            <a:off x="10490964" y="6641683"/>
            <a:ext cx="1050047" cy="128097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816" dirty="0">
                <a:solidFill>
                  <a:srgbClr val="FFFFFF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071505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2" name="Slide do think-cell" r:id="rId5" imgW="386" imgH="386" progId="TCLayout.ActiveDocument.1">
                  <p:embed/>
                </p:oleObj>
              </mc:Choice>
              <mc:Fallback>
                <p:oleObj name="Slide do think-cell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C6D4636-11AB-466C-B46A-3E11EA656B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04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DB43A1F-4CB4-4CC5-84CB-2D42B2A88F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566" r="30556"/>
          <a:stretch/>
        </p:blipFill>
        <p:spPr>
          <a:xfrm>
            <a:off x="3239" y="1"/>
            <a:ext cx="12188761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7899154B-6928-4B3D-B296-A087981BC5D1}"/>
              </a:ext>
            </a:extLst>
          </p:cNvPr>
          <p:cNvSpPr/>
          <p:nvPr userDrawn="1"/>
        </p:nvSpPr>
        <p:spPr>
          <a:xfrm>
            <a:off x="1" y="1"/>
            <a:ext cx="12188760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15000"/>
                </a:schemeClr>
              </a:gs>
              <a:gs pos="100000">
                <a:schemeClr val="tx1"/>
              </a:gs>
            </a:gsLst>
            <a:lin ang="81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758CF3C-86D1-4E54-A2DD-ECE7459E6FA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5697" y="3052492"/>
            <a:ext cx="2003932" cy="753014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827F25B-6EF4-4723-9071-AB4E24D28AD8}"/>
              </a:ext>
            </a:extLst>
          </p:cNvPr>
          <p:cNvSpPr/>
          <p:nvPr userDrawn="1"/>
        </p:nvSpPr>
        <p:spPr>
          <a:xfrm>
            <a:off x="1" y="6811353"/>
            <a:ext cx="12192000" cy="46648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t-BR" sz="1632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652053" y="6639224"/>
            <a:ext cx="170101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816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sz="816" dirty="0">
              <a:solidFill>
                <a:srgbClr val="FFFFFF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 fontAlgn="base">
              <a:spcBef>
                <a:spcPct val="0"/>
              </a:spcBef>
              <a:spcAft>
                <a:spcPct val="0"/>
              </a:spcAft>
            </a:pPr>
            <a:endParaRPr lang="en-US" sz="612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24716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6" name="Slide do think-cell" r:id="rId5" imgW="386" imgH="386" progId="TCLayout.ActiveDocument.1">
                  <p:embed/>
                </p:oleObj>
              </mc:Choice>
              <mc:Fallback>
                <p:oleObj name="Slide do think-cell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C6D4636-11AB-466C-B46A-3E11EA656B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04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6FFD011-C4F8-4917-90B1-02FC36EB84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44" r="54978"/>
          <a:stretch/>
        </p:blipFill>
        <p:spPr>
          <a:xfrm>
            <a:off x="3239" y="1"/>
            <a:ext cx="12188761" cy="6857999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31FEE260-5EFE-459D-8EC7-767B2C9FEA48}"/>
              </a:ext>
            </a:extLst>
          </p:cNvPr>
          <p:cNvSpPr/>
          <p:nvPr userDrawn="1"/>
        </p:nvSpPr>
        <p:spPr>
          <a:xfrm>
            <a:off x="1" y="1"/>
            <a:ext cx="12188760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15000"/>
                </a:schemeClr>
              </a:gs>
              <a:gs pos="100000">
                <a:schemeClr val="tx1"/>
              </a:gs>
            </a:gsLst>
            <a:lin ang="81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5923D19A-104B-4E24-AEEC-0A51AB0105D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5697" y="3052492"/>
            <a:ext cx="2003932" cy="753014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827F25B-6EF4-4723-9071-AB4E24D28AD8}"/>
              </a:ext>
            </a:extLst>
          </p:cNvPr>
          <p:cNvSpPr/>
          <p:nvPr userDrawn="1"/>
        </p:nvSpPr>
        <p:spPr>
          <a:xfrm>
            <a:off x="1" y="6811353"/>
            <a:ext cx="12192000" cy="46648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t-BR" sz="1632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652053" y="6639224"/>
            <a:ext cx="170101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816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sz="816" dirty="0">
              <a:solidFill>
                <a:srgbClr val="FFFFFF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 fontAlgn="base">
              <a:spcBef>
                <a:spcPct val="0"/>
              </a:spcBef>
              <a:spcAft>
                <a:spcPct val="0"/>
              </a:spcAft>
            </a:pPr>
            <a:endParaRPr lang="en-US" sz="612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20522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0" name="Slide do think-cell" r:id="rId5" imgW="386" imgH="386" progId="TCLayout.ActiveDocument.1">
                  <p:embed/>
                </p:oleObj>
              </mc:Choice>
              <mc:Fallback>
                <p:oleObj name="Slide do think-cell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C6D4636-11AB-466C-B46A-3E11EA656B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04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9437CEB-450A-4668-B22B-09D8D3A4DF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29" r="42293"/>
          <a:stretch/>
        </p:blipFill>
        <p:spPr>
          <a:xfrm>
            <a:off x="3239" y="1"/>
            <a:ext cx="12188761" cy="6857999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AC9DDE7E-4FB0-4506-BFF4-A971D8C2F9F5}"/>
              </a:ext>
            </a:extLst>
          </p:cNvPr>
          <p:cNvSpPr/>
          <p:nvPr userDrawn="1"/>
        </p:nvSpPr>
        <p:spPr>
          <a:xfrm>
            <a:off x="1" y="1"/>
            <a:ext cx="12191999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25000"/>
                </a:schemeClr>
              </a:gs>
              <a:gs pos="100000">
                <a:schemeClr val="tx1"/>
              </a:gs>
            </a:gsLst>
            <a:lin ang="81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ADD722A-C39A-4D39-904B-37E3DA8F3C9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5697" y="3052492"/>
            <a:ext cx="2003932" cy="753014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827F25B-6EF4-4723-9071-AB4E24D28AD8}"/>
              </a:ext>
            </a:extLst>
          </p:cNvPr>
          <p:cNvSpPr/>
          <p:nvPr userDrawn="1"/>
        </p:nvSpPr>
        <p:spPr>
          <a:xfrm>
            <a:off x="1" y="6811353"/>
            <a:ext cx="12192000" cy="46648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t-BR" sz="1632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652053" y="6639224"/>
            <a:ext cx="170101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816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sz="816" dirty="0">
              <a:solidFill>
                <a:srgbClr val="FFFFFF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 fontAlgn="base">
              <a:spcBef>
                <a:spcPct val="0"/>
              </a:spcBef>
              <a:spcAft>
                <a:spcPct val="0"/>
              </a:spcAft>
            </a:pPr>
            <a:endParaRPr lang="en-US" sz="612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11346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6C2E2AD-728B-4A74-82B7-423700E3FB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Slide do think-cell" r:id="rId5" imgW="335" imgH="335" progId="TCLayout.ActiveDocument.1">
                  <p:embed/>
                </p:oleObj>
              </mc:Choice>
              <mc:Fallback>
                <p:oleObj name="Slide do think-cell" r:id="rId5" imgW="335" imgH="33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6C2E2AD-728B-4A74-82B7-423700E3FB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643263A-468A-44CF-A468-90CA12402A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04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585831" y="234865"/>
            <a:ext cx="9324003" cy="31402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247759" y="6639224"/>
            <a:ext cx="170101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816" smtClean="0">
                <a:solidFill>
                  <a:srgbClr val="80808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sz="816" dirty="0">
              <a:solidFill>
                <a:srgbClr val="808080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 fontAlgn="base">
              <a:spcBef>
                <a:spcPct val="0"/>
              </a:spcBef>
              <a:spcAft>
                <a:spcPct val="0"/>
              </a:spcAft>
            </a:pPr>
            <a:endParaRPr lang="en-US" sz="612" dirty="0">
              <a:solidFill>
                <a:srgbClr val="808080"/>
              </a:solidFill>
            </a:endParaRPr>
          </a:p>
        </p:txBody>
      </p:sp>
      <p:sp>
        <p:nvSpPr>
          <p:cNvPr id="3" name="SlideLogoText" hidden="1">
            <a:extLst>
              <a:ext uri="{FF2B5EF4-FFF2-40B4-BE49-F238E27FC236}">
                <a16:creationId xmlns:a16="http://schemas.microsoft.com/office/drawing/2014/main" id="{24BEA663-3AE7-43AA-9DEF-3C8D00331FBE}"/>
              </a:ext>
            </a:extLst>
          </p:cNvPr>
          <p:cNvSpPr txBox="1"/>
          <p:nvPr userDrawn="1"/>
        </p:nvSpPr>
        <p:spPr>
          <a:xfrm>
            <a:off x="10490964" y="6641683"/>
            <a:ext cx="1050047" cy="128097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816" dirty="0">
                <a:solidFill>
                  <a:srgbClr val="808080"/>
                </a:solidFill>
              </a:rPr>
              <a:t>McKinsey &amp; Company</a:t>
            </a:r>
          </a:p>
        </p:txBody>
      </p:sp>
      <p:pic>
        <p:nvPicPr>
          <p:cNvPr id="7" name="Picture 6" hidden="1">
            <a:extLst>
              <a:ext uri="{FF2B5EF4-FFF2-40B4-BE49-F238E27FC236}">
                <a16:creationId xmlns:a16="http://schemas.microsoft.com/office/drawing/2014/main" id="{77800B73-3AE1-4633-874D-44F5B846B28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762279" y="-753032"/>
            <a:ext cx="936519" cy="232366"/>
          </a:xfrm>
          <a:prstGeom prst="rect">
            <a:avLst/>
          </a:prstGeom>
        </p:spPr>
      </p:pic>
      <p:grpSp>
        <p:nvGrpSpPr>
          <p:cNvPr id="9" name="Agrupar 6330">
            <a:extLst>
              <a:ext uri="{FF2B5EF4-FFF2-40B4-BE49-F238E27FC236}">
                <a16:creationId xmlns:a16="http://schemas.microsoft.com/office/drawing/2014/main" id="{92D462DC-653C-F747-A9D8-3DF206D5A5FF}"/>
              </a:ext>
            </a:extLst>
          </p:cNvPr>
          <p:cNvGrpSpPr/>
          <p:nvPr userDrawn="1"/>
        </p:nvGrpSpPr>
        <p:grpSpPr>
          <a:xfrm>
            <a:off x="11735463" y="188690"/>
            <a:ext cx="456537" cy="204176"/>
            <a:chOff x="17393497" y="369865"/>
            <a:chExt cx="894884" cy="400222"/>
          </a:xfrm>
        </p:grpSpPr>
        <p:sp>
          <p:nvSpPr>
            <p:cNvPr id="10" name="Forma Livre: Forma 6321">
              <a:extLst>
                <a:ext uri="{FF2B5EF4-FFF2-40B4-BE49-F238E27FC236}">
                  <a16:creationId xmlns:a16="http://schemas.microsoft.com/office/drawing/2014/main" id="{FE7705BB-D291-594A-AC27-AAAA358F0EF0}"/>
                </a:ext>
              </a:extLst>
            </p:cNvPr>
            <p:cNvSpPr/>
            <p:nvPr/>
          </p:nvSpPr>
          <p:spPr>
            <a:xfrm>
              <a:off x="17393497" y="369865"/>
              <a:ext cx="894884" cy="38080"/>
            </a:xfrm>
            <a:custGeom>
              <a:avLst/>
              <a:gdLst>
                <a:gd name="connsiteX0" fmla="*/ 0 w 894883"/>
                <a:gd name="connsiteY0" fmla="*/ 0 h 38080"/>
                <a:gd name="connsiteX1" fmla="*/ 896883 w 894883"/>
                <a:gd name="connsiteY1" fmla="*/ 0 h 38080"/>
                <a:gd name="connsiteX2" fmla="*/ 896883 w 894883"/>
                <a:gd name="connsiteY2" fmla="*/ 38461 h 38080"/>
                <a:gd name="connsiteX3" fmla="*/ 0 w 894883"/>
                <a:gd name="connsiteY3" fmla="*/ 38461 h 38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4883" h="38080">
                  <a:moveTo>
                    <a:pt x="0" y="0"/>
                  </a:moveTo>
                  <a:lnTo>
                    <a:pt x="896883" y="0"/>
                  </a:lnTo>
                  <a:lnTo>
                    <a:pt x="896883" y="38461"/>
                  </a:lnTo>
                  <a:lnTo>
                    <a:pt x="0" y="38461"/>
                  </a:lnTo>
                  <a:close/>
                </a:path>
              </a:pathLst>
            </a:custGeom>
            <a:solidFill>
              <a:srgbClr val="FF5000"/>
            </a:solidFill>
            <a:ln w="95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pt-BR" sz="689" dirty="0">
                <a:solidFill>
                  <a:srgbClr val="000000"/>
                </a:solidFill>
              </a:endParaRPr>
            </a:p>
          </p:txBody>
        </p:sp>
        <p:sp>
          <p:nvSpPr>
            <p:cNvPr id="11" name="Forma Livre: Forma 6322">
              <a:extLst>
                <a:ext uri="{FF2B5EF4-FFF2-40B4-BE49-F238E27FC236}">
                  <a16:creationId xmlns:a16="http://schemas.microsoft.com/office/drawing/2014/main" id="{D691F90E-4761-1044-8C46-0B2455CD0539}"/>
                </a:ext>
              </a:extLst>
            </p:cNvPr>
            <p:cNvSpPr/>
            <p:nvPr/>
          </p:nvSpPr>
          <p:spPr>
            <a:xfrm>
              <a:off x="17393497" y="490579"/>
              <a:ext cx="894884" cy="38080"/>
            </a:xfrm>
            <a:custGeom>
              <a:avLst/>
              <a:gdLst>
                <a:gd name="connsiteX0" fmla="*/ 0 w 894883"/>
                <a:gd name="connsiteY0" fmla="*/ 0 h 38080"/>
                <a:gd name="connsiteX1" fmla="*/ 896883 w 894883"/>
                <a:gd name="connsiteY1" fmla="*/ 0 h 38080"/>
                <a:gd name="connsiteX2" fmla="*/ 896883 w 894883"/>
                <a:gd name="connsiteY2" fmla="*/ 38461 h 38080"/>
                <a:gd name="connsiteX3" fmla="*/ 0 w 894883"/>
                <a:gd name="connsiteY3" fmla="*/ 38461 h 38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4883" h="38080">
                  <a:moveTo>
                    <a:pt x="0" y="0"/>
                  </a:moveTo>
                  <a:lnTo>
                    <a:pt x="896883" y="0"/>
                  </a:lnTo>
                  <a:lnTo>
                    <a:pt x="896883" y="38461"/>
                  </a:lnTo>
                  <a:lnTo>
                    <a:pt x="0" y="38461"/>
                  </a:lnTo>
                  <a:close/>
                </a:path>
              </a:pathLst>
            </a:custGeom>
            <a:solidFill>
              <a:srgbClr val="FF5000"/>
            </a:solidFill>
            <a:ln w="95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pt-BR" sz="689" dirty="0">
                <a:solidFill>
                  <a:srgbClr val="000000"/>
                </a:solidFill>
              </a:endParaRPr>
            </a:p>
          </p:txBody>
        </p:sp>
        <p:sp>
          <p:nvSpPr>
            <p:cNvPr id="12" name="Forma Livre: Forma 6323">
              <a:extLst>
                <a:ext uri="{FF2B5EF4-FFF2-40B4-BE49-F238E27FC236}">
                  <a16:creationId xmlns:a16="http://schemas.microsoft.com/office/drawing/2014/main" id="{8AC2D039-9851-244C-BAA3-FC5BF23C25B9}"/>
                </a:ext>
              </a:extLst>
            </p:cNvPr>
            <p:cNvSpPr/>
            <p:nvPr/>
          </p:nvSpPr>
          <p:spPr>
            <a:xfrm>
              <a:off x="17393497" y="611293"/>
              <a:ext cx="894884" cy="38080"/>
            </a:xfrm>
            <a:custGeom>
              <a:avLst/>
              <a:gdLst>
                <a:gd name="connsiteX0" fmla="*/ 0 w 894883"/>
                <a:gd name="connsiteY0" fmla="*/ 0 h 38080"/>
                <a:gd name="connsiteX1" fmla="*/ 896883 w 894883"/>
                <a:gd name="connsiteY1" fmla="*/ 0 h 38080"/>
                <a:gd name="connsiteX2" fmla="*/ 896883 w 894883"/>
                <a:gd name="connsiteY2" fmla="*/ 38461 h 38080"/>
                <a:gd name="connsiteX3" fmla="*/ 0 w 894883"/>
                <a:gd name="connsiteY3" fmla="*/ 38461 h 38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4883" h="38080">
                  <a:moveTo>
                    <a:pt x="0" y="0"/>
                  </a:moveTo>
                  <a:lnTo>
                    <a:pt x="896883" y="0"/>
                  </a:lnTo>
                  <a:lnTo>
                    <a:pt x="896883" y="38461"/>
                  </a:lnTo>
                  <a:lnTo>
                    <a:pt x="0" y="38461"/>
                  </a:lnTo>
                  <a:close/>
                </a:path>
              </a:pathLst>
            </a:custGeom>
            <a:solidFill>
              <a:srgbClr val="FF5000"/>
            </a:solidFill>
            <a:ln w="95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pt-BR" sz="689" dirty="0">
                <a:solidFill>
                  <a:srgbClr val="000000"/>
                </a:solidFill>
              </a:endParaRPr>
            </a:p>
          </p:txBody>
        </p:sp>
        <p:sp>
          <p:nvSpPr>
            <p:cNvPr id="13" name="Forma Livre: Forma 6324">
              <a:extLst>
                <a:ext uri="{FF2B5EF4-FFF2-40B4-BE49-F238E27FC236}">
                  <a16:creationId xmlns:a16="http://schemas.microsoft.com/office/drawing/2014/main" id="{223E0C72-FF2F-174F-B0BA-69F8BCB943BE}"/>
                </a:ext>
              </a:extLst>
            </p:cNvPr>
            <p:cNvSpPr/>
            <p:nvPr/>
          </p:nvSpPr>
          <p:spPr>
            <a:xfrm>
              <a:off x="17393497" y="732007"/>
              <a:ext cx="894884" cy="38080"/>
            </a:xfrm>
            <a:custGeom>
              <a:avLst/>
              <a:gdLst>
                <a:gd name="connsiteX0" fmla="*/ 0 w 894883"/>
                <a:gd name="connsiteY0" fmla="*/ 0 h 38080"/>
                <a:gd name="connsiteX1" fmla="*/ 896883 w 894883"/>
                <a:gd name="connsiteY1" fmla="*/ 0 h 38080"/>
                <a:gd name="connsiteX2" fmla="*/ 896883 w 894883"/>
                <a:gd name="connsiteY2" fmla="*/ 38461 h 38080"/>
                <a:gd name="connsiteX3" fmla="*/ 0 w 894883"/>
                <a:gd name="connsiteY3" fmla="*/ 38461 h 38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4883" h="38080">
                  <a:moveTo>
                    <a:pt x="0" y="0"/>
                  </a:moveTo>
                  <a:lnTo>
                    <a:pt x="896883" y="0"/>
                  </a:lnTo>
                  <a:lnTo>
                    <a:pt x="896883" y="38461"/>
                  </a:lnTo>
                  <a:lnTo>
                    <a:pt x="0" y="38461"/>
                  </a:lnTo>
                  <a:close/>
                </a:path>
              </a:pathLst>
            </a:custGeom>
            <a:solidFill>
              <a:srgbClr val="FF5000"/>
            </a:solidFill>
            <a:ln w="95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pt-BR" sz="689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4" name="Picture 25" descr="NexaLogo.png">
            <a:extLst>
              <a:ext uri="{FF2B5EF4-FFF2-40B4-BE49-F238E27FC236}">
                <a16:creationId xmlns:a16="http://schemas.microsoft.com/office/drawing/2014/main" id="{849F3190-BB8B-734C-81A8-FEC2FC177F4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710" y="6530106"/>
            <a:ext cx="866170" cy="215096"/>
          </a:xfrm>
          <a:prstGeom prst="rect">
            <a:avLst/>
          </a:prstGeom>
        </p:spPr>
      </p:pic>
      <p:pic>
        <p:nvPicPr>
          <p:cNvPr id="15" name="Imagem 6326">
            <a:extLst>
              <a:ext uri="{FF2B5EF4-FFF2-40B4-BE49-F238E27FC236}">
                <a16:creationId xmlns:a16="http://schemas.microsoft.com/office/drawing/2014/main" id="{3C5D860F-57A5-CB4D-B67C-9DAB5E5ABF7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83764" y="189654"/>
            <a:ext cx="368253" cy="391429"/>
          </a:xfrm>
          <a:custGeom>
            <a:avLst/>
            <a:gdLst>
              <a:gd name="connsiteX0" fmla="*/ 0 w 1123364"/>
              <a:gd name="connsiteY0" fmla="*/ 0 h 1123364"/>
              <a:gd name="connsiteX1" fmla="*/ 1129682 w 1123364"/>
              <a:gd name="connsiteY1" fmla="*/ 0 h 1123364"/>
              <a:gd name="connsiteX2" fmla="*/ 1129682 w 1123364"/>
              <a:gd name="connsiteY2" fmla="*/ 1129682 h 1123364"/>
              <a:gd name="connsiteX3" fmla="*/ 0 w 1123364"/>
              <a:gd name="connsiteY3" fmla="*/ 1129682 h 1123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23364" h="1123364">
                <a:moveTo>
                  <a:pt x="0" y="0"/>
                </a:moveTo>
                <a:lnTo>
                  <a:pt x="1129682" y="0"/>
                </a:lnTo>
                <a:lnTo>
                  <a:pt x="1129682" y="1129682"/>
                </a:lnTo>
                <a:lnTo>
                  <a:pt x="0" y="1129682"/>
                </a:lnTo>
                <a:close/>
              </a:path>
            </a:pathLst>
          </a:custGeom>
          <a:ln/>
        </p:spPr>
      </p:pic>
      <p:pic>
        <p:nvPicPr>
          <p:cNvPr id="16" name="Imagem 6327">
            <a:extLst>
              <a:ext uri="{FF2B5EF4-FFF2-40B4-BE49-F238E27FC236}">
                <a16:creationId xmlns:a16="http://schemas.microsoft.com/office/drawing/2014/main" id="{CE548388-9EA7-C24C-B238-5EDC12D3CF1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7454" y="207447"/>
            <a:ext cx="334775" cy="355845"/>
          </a:xfrm>
          <a:custGeom>
            <a:avLst/>
            <a:gdLst>
              <a:gd name="connsiteX0" fmla="*/ 0 w 1123364"/>
              <a:gd name="connsiteY0" fmla="*/ 0 h 1123364"/>
              <a:gd name="connsiteX1" fmla="*/ 1129682 w 1123364"/>
              <a:gd name="connsiteY1" fmla="*/ 0 h 1123364"/>
              <a:gd name="connsiteX2" fmla="*/ 1129682 w 1123364"/>
              <a:gd name="connsiteY2" fmla="*/ 1129682 h 1123364"/>
              <a:gd name="connsiteX3" fmla="*/ 0 w 1123364"/>
              <a:gd name="connsiteY3" fmla="*/ 1129682 h 1123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23364" h="1123364">
                <a:moveTo>
                  <a:pt x="0" y="0"/>
                </a:moveTo>
                <a:lnTo>
                  <a:pt x="1129682" y="0"/>
                </a:lnTo>
                <a:lnTo>
                  <a:pt x="1129682" y="1129682"/>
                </a:lnTo>
                <a:lnTo>
                  <a:pt x="0" y="1129682"/>
                </a:lnTo>
                <a:close/>
              </a:path>
            </a:pathLst>
          </a:custGeom>
          <a:ln/>
        </p:spPr>
      </p:pic>
      <p:grpSp>
        <p:nvGrpSpPr>
          <p:cNvPr id="17" name="Grupo 15">
            <a:extLst>
              <a:ext uri="{FF2B5EF4-FFF2-40B4-BE49-F238E27FC236}">
                <a16:creationId xmlns:a16="http://schemas.microsoft.com/office/drawing/2014/main" id="{FA9D59A3-7055-E943-9E6F-15047D73F773}"/>
              </a:ext>
            </a:extLst>
          </p:cNvPr>
          <p:cNvGrpSpPr/>
          <p:nvPr userDrawn="1"/>
        </p:nvGrpSpPr>
        <p:grpSpPr>
          <a:xfrm>
            <a:off x="1" y="1367"/>
            <a:ext cx="585829" cy="715668"/>
            <a:chOff x="0" y="1339"/>
            <a:chExt cx="929014" cy="1134932"/>
          </a:xfrm>
        </p:grpSpPr>
        <p:sp>
          <p:nvSpPr>
            <p:cNvPr id="18" name="Forma Livre: Forma 6311">
              <a:extLst>
                <a:ext uri="{FF2B5EF4-FFF2-40B4-BE49-F238E27FC236}">
                  <a16:creationId xmlns:a16="http://schemas.microsoft.com/office/drawing/2014/main" id="{0DC1A6A0-AA9C-B447-883B-6F6BA9501A61}"/>
                </a:ext>
              </a:extLst>
            </p:cNvPr>
            <p:cNvSpPr/>
            <p:nvPr/>
          </p:nvSpPr>
          <p:spPr>
            <a:xfrm>
              <a:off x="835860" y="983950"/>
              <a:ext cx="19040" cy="152321"/>
            </a:xfrm>
            <a:custGeom>
              <a:avLst/>
              <a:gdLst>
                <a:gd name="connsiteX0" fmla="*/ 23705 w 38080"/>
                <a:gd name="connsiteY0" fmla="*/ 0 h 304641"/>
                <a:gd name="connsiteX1" fmla="*/ 0 w 38080"/>
                <a:gd name="connsiteY1" fmla="*/ 21706 h 304641"/>
                <a:gd name="connsiteX2" fmla="*/ 0 w 38080"/>
                <a:gd name="connsiteY2" fmla="*/ 290552 h 304641"/>
                <a:gd name="connsiteX3" fmla="*/ 23705 w 38080"/>
                <a:gd name="connsiteY3" fmla="*/ 312257 h 304641"/>
                <a:gd name="connsiteX4" fmla="*/ 47410 w 38080"/>
                <a:gd name="connsiteY4" fmla="*/ 290552 h 304641"/>
                <a:gd name="connsiteX5" fmla="*/ 47410 w 38080"/>
                <a:gd name="connsiteY5" fmla="*/ 21706 h 304641"/>
                <a:gd name="connsiteX6" fmla="*/ 23705 w 38080"/>
                <a:gd name="connsiteY6" fmla="*/ 0 h 304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080" h="304641">
                  <a:moveTo>
                    <a:pt x="23705" y="0"/>
                  </a:moveTo>
                  <a:cubicBezTo>
                    <a:pt x="10567" y="0"/>
                    <a:pt x="0" y="9710"/>
                    <a:pt x="0" y="21706"/>
                  </a:cubicBezTo>
                  <a:lnTo>
                    <a:pt x="0" y="290552"/>
                  </a:lnTo>
                  <a:cubicBezTo>
                    <a:pt x="0" y="302547"/>
                    <a:pt x="10662" y="312257"/>
                    <a:pt x="23705" y="312257"/>
                  </a:cubicBezTo>
                  <a:cubicBezTo>
                    <a:pt x="36843" y="312257"/>
                    <a:pt x="47410" y="302547"/>
                    <a:pt x="47410" y="290552"/>
                  </a:cubicBezTo>
                  <a:lnTo>
                    <a:pt x="47410" y="21706"/>
                  </a:lnTo>
                  <a:cubicBezTo>
                    <a:pt x="47410" y="9806"/>
                    <a:pt x="36747" y="0"/>
                    <a:pt x="23705" y="0"/>
                  </a:cubicBezTo>
                  <a:close/>
                </a:path>
              </a:pathLst>
            </a:custGeom>
            <a:solidFill>
              <a:srgbClr val="FF5000"/>
            </a:solidFill>
            <a:ln w="95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pt-BR" sz="689" dirty="0">
                <a:solidFill>
                  <a:srgbClr val="000000"/>
                </a:solidFill>
              </a:endParaRPr>
            </a:p>
          </p:txBody>
        </p:sp>
        <p:sp>
          <p:nvSpPr>
            <p:cNvPr id="19" name="Forma Livre: Forma 6312">
              <a:extLst>
                <a:ext uri="{FF2B5EF4-FFF2-40B4-BE49-F238E27FC236}">
                  <a16:creationId xmlns:a16="http://schemas.microsoft.com/office/drawing/2014/main" id="{DAF47366-BF6A-744B-9F60-2758580A2138}"/>
                </a:ext>
              </a:extLst>
            </p:cNvPr>
            <p:cNvSpPr/>
            <p:nvPr/>
          </p:nvSpPr>
          <p:spPr>
            <a:xfrm>
              <a:off x="762413" y="1051161"/>
              <a:ext cx="166601" cy="19040"/>
            </a:xfrm>
            <a:custGeom>
              <a:avLst/>
              <a:gdLst>
                <a:gd name="connsiteX0" fmla="*/ 317398 w 333201"/>
                <a:gd name="connsiteY0" fmla="*/ 0 h 38080"/>
                <a:gd name="connsiteX1" fmla="*/ 23705 w 333201"/>
                <a:gd name="connsiteY1" fmla="*/ 0 h 38080"/>
                <a:gd name="connsiteX2" fmla="*/ 0 w 333201"/>
                <a:gd name="connsiteY2" fmla="*/ 21706 h 38080"/>
                <a:gd name="connsiteX3" fmla="*/ 23705 w 333201"/>
                <a:gd name="connsiteY3" fmla="*/ 43411 h 38080"/>
                <a:gd name="connsiteX4" fmla="*/ 317398 w 333201"/>
                <a:gd name="connsiteY4" fmla="*/ 43411 h 38080"/>
                <a:gd name="connsiteX5" fmla="*/ 341103 w 333201"/>
                <a:gd name="connsiteY5" fmla="*/ 21706 h 38080"/>
                <a:gd name="connsiteX6" fmla="*/ 317398 w 333201"/>
                <a:gd name="connsiteY6" fmla="*/ 0 h 38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201" h="38080">
                  <a:moveTo>
                    <a:pt x="317398" y="0"/>
                  </a:moveTo>
                  <a:lnTo>
                    <a:pt x="23705" y="0"/>
                  </a:lnTo>
                  <a:cubicBezTo>
                    <a:pt x="10567" y="0"/>
                    <a:pt x="0" y="9710"/>
                    <a:pt x="0" y="21706"/>
                  </a:cubicBezTo>
                  <a:cubicBezTo>
                    <a:pt x="0" y="33701"/>
                    <a:pt x="10662" y="43411"/>
                    <a:pt x="23705" y="43411"/>
                  </a:cubicBezTo>
                  <a:lnTo>
                    <a:pt x="317398" y="43411"/>
                  </a:lnTo>
                  <a:cubicBezTo>
                    <a:pt x="330536" y="43411"/>
                    <a:pt x="341103" y="33701"/>
                    <a:pt x="341103" y="21706"/>
                  </a:cubicBezTo>
                  <a:cubicBezTo>
                    <a:pt x="341103" y="9710"/>
                    <a:pt x="330536" y="0"/>
                    <a:pt x="317398" y="0"/>
                  </a:cubicBezTo>
                  <a:close/>
                </a:path>
              </a:pathLst>
            </a:custGeom>
            <a:solidFill>
              <a:srgbClr val="FF5000"/>
            </a:solidFill>
            <a:ln w="95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pt-BR" sz="689" dirty="0">
                <a:solidFill>
                  <a:srgbClr val="000000"/>
                </a:solidFill>
              </a:endParaRPr>
            </a:p>
          </p:txBody>
        </p:sp>
        <p:pic>
          <p:nvPicPr>
            <p:cNvPr id="20" name="Imagem 19">
              <a:extLst>
                <a:ext uri="{FF2B5EF4-FFF2-40B4-BE49-F238E27FC236}">
                  <a16:creationId xmlns:a16="http://schemas.microsoft.com/office/drawing/2014/main" id="{C08E4826-B0FB-0A4C-9468-101A665EEC0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0" y="1339"/>
              <a:ext cx="847284" cy="1090045"/>
            </a:xfrm>
            <a:custGeom>
              <a:avLst/>
              <a:gdLst>
                <a:gd name="connsiteX0" fmla="*/ 0 w 1694567"/>
                <a:gd name="connsiteY0" fmla="*/ 0 h 2180089"/>
                <a:gd name="connsiteX1" fmla="*/ 1694964 w 1694567"/>
                <a:gd name="connsiteY1" fmla="*/ 0 h 2180089"/>
                <a:gd name="connsiteX2" fmla="*/ 1694964 w 1694567"/>
                <a:gd name="connsiteY2" fmla="*/ 2189328 h 2180089"/>
                <a:gd name="connsiteX3" fmla="*/ 0 w 1694567"/>
                <a:gd name="connsiteY3" fmla="*/ 2189328 h 2180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94567" h="2180089">
                  <a:moveTo>
                    <a:pt x="0" y="0"/>
                  </a:moveTo>
                  <a:lnTo>
                    <a:pt x="1694964" y="0"/>
                  </a:lnTo>
                  <a:lnTo>
                    <a:pt x="1694964" y="2189328"/>
                  </a:lnTo>
                  <a:lnTo>
                    <a:pt x="0" y="2189328"/>
                  </a:lnTo>
                  <a:close/>
                </a:path>
              </a:pathLst>
            </a:custGeom>
            <a:ln/>
          </p:spPr>
        </p:pic>
      </p:grpSp>
      <p:pic>
        <p:nvPicPr>
          <p:cNvPr id="21" name="Imagem 20">
            <a:extLst>
              <a:ext uri="{FF2B5EF4-FFF2-40B4-BE49-F238E27FC236}">
                <a16:creationId xmlns:a16="http://schemas.microsoft.com/office/drawing/2014/main" id="{6CB0EC24-09F5-6443-88E2-CB8180548B8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474233" y="6398121"/>
            <a:ext cx="717767" cy="459880"/>
          </a:xfrm>
          <a:custGeom>
            <a:avLst/>
            <a:gdLst>
              <a:gd name="connsiteX0" fmla="*/ 0 w 4769540"/>
              <a:gd name="connsiteY0" fmla="*/ 0 h 3055933"/>
              <a:gd name="connsiteX1" fmla="*/ 4772326 w 4769540"/>
              <a:gd name="connsiteY1" fmla="*/ 0 h 3055933"/>
              <a:gd name="connsiteX2" fmla="*/ 4772326 w 4769540"/>
              <a:gd name="connsiteY2" fmla="*/ 3060008 h 3055933"/>
              <a:gd name="connsiteX3" fmla="*/ 0 w 4769540"/>
              <a:gd name="connsiteY3" fmla="*/ 3060008 h 3055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69540" h="3055933">
                <a:moveTo>
                  <a:pt x="0" y="0"/>
                </a:moveTo>
                <a:lnTo>
                  <a:pt x="4772326" y="0"/>
                </a:lnTo>
                <a:lnTo>
                  <a:pt x="4772326" y="3060008"/>
                </a:lnTo>
                <a:lnTo>
                  <a:pt x="0" y="3060008"/>
                </a:lnTo>
                <a:close/>
              </a:path>
            </a:pathLst>
          </a:custGeom>
          <a:ln/>
        </p:spPr>
      </p:pic>
      <p:pic>
        <p:nvPicPr>
          <p:cNvPr id="22" name="Imagem 6325">
            <a:extLst>
              <a:ext uri="{FF2B5EF4-FFF2-40B4-BE49-F238E27FC236}">
                <a16:creationId xmlns:a16="http://schemas.microsoft.com/office/drawing/2014/main" id="{25101C7E-A22C-3445-9DCD-0A8C6E79807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9595" y="227388"/>
            <a:ext cx="304341" cy="323495"/>
          </a:xfrm>
          <a:custGeom>
            <a:avLst/>
            <a:gdLst>
              <a:gd name="connsiteX0" fmla="*/ 0 w 1123364"/>
              <a:gd name="connsiteY0" fmla="*/ 0 h 1123364"/>
              <a:gd name="connsiteX1" fmla="*/ 1129682 w 1123364"/>
              <a:gd name="connsiteY1" fmla="*/ 0 h 1123364"/>
              <a:gd name="connsiteX2" fmla="*/ 1129682 w 1123364"/>
              <a:gd name="connsiteY2" fmla="*/ 1129682 h 1123364"/>
              <a:gd name="connsiteX3" fmla="*/ 0 w 1123364"/>
              <a:gd name="connsiteY3" fmla="*/ 1129682 h 1123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23364" h="1123364">
                <a:moveTo>
                  <a:pt x="0" y="0"/>
                </a:moveTo>
                <a:lnTo>
                  <a:pt x="1129682" y="0"/>
                </a:lnTo>
                <a:lnTo>
                  <a:pt x="1129682" y="1129682"/>
                </a:lnTo>
                <a:lnTo>
                  <a:pt x="0" y="1129682"/>
                </a:lnTo>
                <a:close/>
              </a:path>
            </a:pathLst>
          </a:custGeom>
          <a:ln/>
        </p:spPr>
      </p:pic>
    </p:spTree>
    <p:extLst>
      <p:ext uri="{BB962C8B-B14F-4D97-AF65-F5344CB8AC3E}">
        <p14:creationId xmlns:p14="http://schemas.microsoft.com/office/powerpoint/2010/main" val="5863258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4" name="Slide do think-cell" r:id="rId5" imgW="386" imgH="386" progId="TCLayout.ActiveDocument.1">
                  <p:embed/>
                </p:oleObj>
              </mc:Choice>
              <mc:Fallback>
                <p:oleObj name="Slide do think-cell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C6D4636-11AB-466C-B46A-3E11EA656B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04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827F25B-6EF4-4723-9071-AB4E24D28AD8}"/>
              </a:ext>
            </a:extLst>
          </p:cNvPr>
          <p:cNvSpPr/>
          <p:nvPr userDrawn="1"/>
        </p:nvSpPr>
        <p:spPr>
          <a:xfrm>
            <a:off x="1" y="6811353"/>
            <a:ext cx="12192000" cy="46648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t-BR" sz="1632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652053" y="6639224"/>
            <a:ext cx="170101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816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sz="816" dirty="0">
              <a:solidFill>
                <a:srgbClr val="FFFFFF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 fontAlgn="base">
              <a:spcBef>
                <a:spcPct val="0"/>
              </a:spcBef>
              <a:spcAft>
                <a:spcPct val="0"/>
              </a:spcAft>
            </a:pPr>
            <a:endParaRPr lang="en-US" sz="612" dirty="0">
              <a:solidFill>
                <a:srgbClr val="808080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1CD7F96-9B61-4C80-87D5-69D199324679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0"/>
                </a:schemeClr>
              </a:gs>
              <a:gs pos="100000">
                <a:schemeClr val="tx1"/>
              </a:gs>
            </a:gsLst>
            <a:lin ang="81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50B40F23-5796-4B01-9818-E6BFE8241CF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7517" y="2691992"/>
            <a:ext cx="3916965" cy="1474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68473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13AD3-3475-4140-ABF1-222FB3836F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9001923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381001" y="6466114"/>
            <a:ext cx="11397343" cy="0"/>
          </a:xfrm>
          <a:prstGeom prst="line">
            <a:avLst/>
          </a:prstGeom>
          <a:ln w="571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2"/>
          <p:cNvSpPr>
            <a:spLocks noGrp="1"/>
          </p:cNvSpPr>
          <p:nvPr>
            <p:ph type="body" idx="1"/>
          </p:nvPr>
        </p:nvSpPr>
        <p:spPr>
          <a:xfrm>
            <a:off x="385534" y="376692"/>
            <a:ext cx="11403695" cy="287337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spcBef>
                <a:spcPts val="500"/>
              </a:spcBef>
              <a:buNone/>
              <a:defRPr sz="1400" b="1">
                <a:solidFill>
                  <a:schemeClr val="accent5"/>
                </a:solidFill>
              </a:defRPr>
            </a:lvl1pPr>
            <a:lvl2pPr marL="45719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9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9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8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35846" y="6466113"/>
            <a:ext cx="27432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000" baseline="0">
                <a:solidFill>
                  <a:schemeClr val="accent5">
                    <a:lumMod val="60000"/>
                    <a:lumOff val="40000"/>
                  </a:schemeClr>
                </a:solidFill>
                <a:latin typeface="Verdana Regular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55780C9-1218-2442-B992-B1EF8E30C659}" type="slidenum">
              <a:rPr lang="en-US" smtClean="0">
                <a:solidFill>
                  <a:srgbClr val="3B3B3B">
                    <a:lumMod val="60000"/>
                    <a:lumOff val="4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dirty="0">
              <a:solidFill>
                <a:srgbClr val="3B3B3B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827550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2" name="Slide do think-cell" r:id="rId4" imgW="470" imgH="469" progId="TCLayout.ActiveDocument.1">
                  <p:embed/>
                </p:oleObj>
              </mc:Choice>
              <mc:Fallback>
                <p:oleObj name="Slide do think-cell" r:id="rId4" imgW="470" imgH="469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5492390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ítulo e grá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6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4" name="AutoShap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/>
          <p:cNvSpPr/>
          <p:nvPr userDrawn="1"/>
        </p:nvSpPr>
        <p:spPr>
          <a:xfrm>
            <a:off x="0" y="0"/>
            <a:ext cx="12189600" cy="702000"/>
          </a:xfrm>
          <a:prstGeom prst="rect">
            <a:avLst/>
          </a:prstGeom>
          <a:solidFill>
            <a:srgbClr val="393C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5" name="Imagem 4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1574" y="139192"/>
            <a:ext cx="1127321" cy="423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8977281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Section Hea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spect="1"/>
          </p:cNvSpPr>
          <p:nvPr userDrawn="1"/>
        </p:nvSpPr>
        <p:spPr>
          <a:xfrm>
            <a:off x="768173" y="5885298"/>
            <a:ext cx="10622996" cy="97270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393539" y="393540"/>
            <a:ext cx="11394979" cy="54917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7" name="Rectangle 16"/>
          <p:cNvSpPr>
            <a:spLocks noChangeAspect="1"/>
          </p:cNvSpPr>
          <p:nvPr userDrawn="1"/>
        </p:nvSpPr>
        <p:spPr>
          <a:xfrm>
            <a:off x="371061" y="4931141"/>
            <a:ext cx="11423374" cy="9727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73215" y="1746235"/>
            <a:ext cx="9634271" cy="15124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r">
              <a:tabLst>
                <a:tab pos="4217988" algn="l"/>
              </a:tabLst>
              <a:defRPr sz="3600" b="1" i="0" spc="-100" baseline="0">
                <a:solidFill>
                  <a:schemeClr val="accent5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78164" y="3383095"/>
            <a:ext cx="9618436" cy="35265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 algn="r">
              <a:buNone/>
              <a:defRPr sz="1400">
                <a:solidFill>
                  <a:schemeClr val="accent5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5"/>
          </p:nvPr>
        </p:nvSpPr>
        <p:spPr>
          <a:xfrm>
            <a:off x="6197600" y="5277787"/>
            <a:ext cx="4699000" cy="35265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 algn="r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16"/>
          </p:nvPr>
        </p:nvSpPr>
        <p:spPr>
          <a:xfrm>
            <a:off x="1273215" y="5277787"/>
            <a:ext cx="4699000" cy="35265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 algn="l">
              <a:buNone/>
              <a:defRPr sz="1400" b="1" i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Rectangle 22"/>
          <p:cNvSpPr>
            <a:spLocks noChangeAspect="1"/>
          </p:cNvSpPr>
          <p:nvPr userDrawn="1"/>
        </p:nvSpPr>
        <p:spPr>
          <a:xfrm>
            <a:off x="-102230" y="4827368"/>
            <a:ext cx="12398829" cy="195559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96460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Section Header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371061" y="393540"/>
            <a:ext cx="11417457" cy="549175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>
            <a:spLocks noChangeAspect="1"/>
          </p:cNvSpPr>
          <p:nvPr userDrawn="1"/>
        </p:nvSpPr>
        <p:spPr>
          <a:xfrm>
            <a:off x="768173" y="5885298"/>
            <a:ext cx="10622996" cy="9727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7" name="Rectangle 16"/>
          <p:cNvSpPr>
            <a:spLocks noChangeAspect="1"/>
          </p:cNvSpPr>
          <p:nvPr userDrawn="1"/>
        </p:nvSpPr>
        <p:spPr>
          <a:xfrm>
            <a:off x="371061" y="4931141"/>
            <a:ext cx="11423374" cy="9727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8" name="Rectangle 17"/>
          <p:cNvSpPr>
            <a:spLocks noChangeAspect="1"/>
          </p:cNvSpPr>
          <p:nvPr userDrawn="1"/>
        </p:nvSpPr>
        <p:spPr>
          <a:xfrm>
            <a:off x="-102230" y="4827368"/>
            <a:ext cx="12398829" cy="195559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type="body" idx="15"/>
          </p:nvPr>
        </p:nvSpPr>
        <p:spPr>
          <a:xfrm>
            <a:off x="6197600" y="5277787"/>
            <a:ext cx="4699000" cy="35265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 algn="r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6"/>
          </p:nvPr>
        </p:nvSpPr>
        <p:spPr>
          <a:xfrm>
            <a:off x="1273215" y="5277787"/>
            <a:ext cx="4699000" cy="35265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 algn="l">
              <a:buNone/>
              <a:defRPr sz="1400" b="1" i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1273215" y="1746235"/>
            <a:ext cx="9634271" cy="15124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r">
              <a:tabLst>
                <a:tab pos="4217988" algn="l"/>
              </a:tabLst>
              <a:defRPr sz="3600" b="1" i="0" spc="-1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endParaRPr lang="en-US" dirty="0"/>
          </a:p>
        </p:txBody>
      </p:sp>
      <p:sp>
        <p:nvSpPr>
          <p:cNvPr id="22" name="Text Placeholder 2"/>
          <p:cNvSpPr>
            <a:spLocks noGrp="1"/>
          </p:cNvSpPr>
          <p:nvPr>
            <p:ph type="body" idx="1"/>
          </p:nvPr>
        </p:nvSpPr>
        <p:spPr>
          <a:xfrm>
            <a:off x="1278164" y="3383095"/>
            <a:ext cx="9618436" cy="35265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 algn="r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317998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Section Hea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4"/>
          <p:cNvSpPr>
            <a:spLocks noGrp="1"/>
          </p:cNvSpPr>
          <p:nvPr>
            <p:ph type="pic" sz="quarter" idx="17"/>
          </p:nvPr>
        </p:nvSpPr>
        <p:spPr>
          <a:xfrm>
            <a:off x="371062" y="393539"/>
            <a:ext cx="11417456" cy="4629388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endParaRPr lang="en-US" dirty="0"/>
          </a:p>
        </p:txBody>
      </p:sp>
      <p:sp>
        <p:nvSpPr>
          <p:cNvPr id="6" name="Rectangle 5"/>
          <p:cNvSpPr>
            <a:spLocks noChangeAspect="1"/>
          </p:cNvSpPr>
          <p:nvPr userDrawn="1"/>
        </p:nvSpPr>
        <p:spPr>
          <a:xfrm>
            <a:off x="768173" y="5885298"/>
            <a:ext cx="10622996" cy="97270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7" name="Rectangle 16"/>
          <p:cNvSpPr>
            <a:spLocks noChangeAspect="1"/>
          </p:cNvSpPr>
          <p:nvPr userDrawn="1"/>
        </p:nvSpPr>
        <p:spPr>
          <a:xfrm>
            <a:off x="371061" y="4931141"/>
            <a:ext cx="11423374" cy="9727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8" name="Rectangle 17"/>
          <p:cNvSpPr>
            <a:spLocks noChangeAspect="1"/>
          </p:cNvSpPr>
          <p:nvPr userDrawn="1"/>
        </p:nvSpPr>
        <p:spPr>
          <a:xfrm>
            <a:off x="-102230" y="4827368"/>
            <a:ext cx="12398829" cy="195559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5" name="Rectangle 24"/>
          <p:cNvSpPr>
            <a:spLocks noChangeAspect="1"/>
          </p:cNvSpPr>
          <p:nvPr userDrawn="1"/>
        </p:nvSpPr>
        <p:spPr>
          <a:xfrm>
            <a:off x="371061" y="4931141"/>
            <a:ext cx="11423374" cy="9727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8" name="Text Placeholder 2"/>
          <p:cNvSpPr>
            <a:spLocks noGrp="1"/>
          </p:cNvSpPr>
          <p:nvPr>
            <p:ph type="body" idx="16"/>
          </p:nvPr>
        </p:nvSpPr>
        <p:spPr>
          <a:xfrm>
            <a:off x="1273215" y="5277787"/>
            <a:ext cx="4699000" cy="35265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 algn="l">
              <a:buNone/>
              <a:defRPr sz="1400" b="1" i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idx="15"/>
          </p:nvPr>
        </p:nvSpPr>
        <p:spPr>
          <a:xfrm>
            <a:off x="6197600" y="5277787"/>
            <a:ext cx="4699000" cy="35265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 algn="r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273215" y="1746235"/>
            <a:ext cx="9634271" cy="15124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r">
              <a:tabLst>
                <a:tab pos="4217988" algn="l"/>
              </a:tabLst>
              <a:defRPr sz="3600" b="1" i="0" spc="-100" baseline="0">
                <a:solidFill>
                  <a:schemeClr val="accent5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"/>
          </p:nvPr>
        </p:nvSpPr>
        <p:spPr>
          <a:xfrm>
            <a:off x="1278164" y="3383095"/>
            <a:ext cx="9618436" cy="35265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 algn="r">
              <a:buNone/>
              <a:defRPr sz="1400">
                <a:solidFill>
                  <a:schemeClr val="accent5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526864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Section Header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4"/>
          <p:cNvSpPr>
            <a:spLocks noGrp="1"/>
          </p:cNvSpPr>
          <p:nvPr>
            <p:ph type="pic" sz="quarter" idx="17"/>
          </p:nvPr>
        </p:nvSpPr>
        <p:spPr>
          <a:xfrm>
            <a:off x="371062" y="393539"/>
            <a:ext cx="11417456" cy="4629388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Rectangle 5"/>
          <p:cNvSpPr>
            <a:spLocks noChangeAspect="1"/>
          </p:cNvSpPr>
          <p:nvPr userDrawn="1"/>
        </p:nvSpPr>
        <p:spPr>
          <a:xfrm>
            <a:off x="768173" y="5885298"/>
            <a:ext cx="10622996" cy="9727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7" name="Rectangle 16"/>
          <p:cNvSpPr>
            <a:spLocks noChangeAspect="1"/>
          </p:cNvSpPr>
          <p:nvPr userDrawn="1"/>
        </p:nvSpPr>
        <p:spPr>
          <a:xfrm>
            <a:off x="371061" y="4931141"/>
            <a:ext cx="11423374" cy="9727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8" name="Rectangle 17"/>
          <p:cNvSpPr>
            <a:spLocks noChangeAspect="1"/>
          </p:cNvSpPr>
          <p:nvPr userDrawn="1"/>
        </p:nvSpPr>
        <p:spPr>
          <a:xfrm>
            <a:off x="-102230" y="4827368"/>
            <a:ext cx="12398829" cy="195559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2" name="Text Placeholder 2"/>
          <p:cNvSpPr>
            <a:spLocks noGrp="1"/>
          </p:cNvSpPr>
          <p:nvPr>
            <p:ph type="body" idx="15"/>
          </p:nvPr>
        </p:nvSpPr>
        <p:spPr>
          <a:xfrm>
            <a:off x="6197600" y="5277787"/>
            <a:ext cx="4699000" cy="35265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 algn="r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idx="16"/>
          </p:nvPr>
        </p:nvSpPr>
        <p:spPr>
          <a:xfrm>
            <a:off x="1273215" y="5277787"/>
            <a:ext cx="4699000" cy="35265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 algn="l">
              <a:buNone/>
              <a:defRPr sz="1400" b="1" i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273215" y="1746235"/>
            <a:ext cx="9634271" cy="15124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r">
              <a:tabLst>
                <a:tab pos="4217988" algn="l"/>
              </a:tabLst>
              <a:defRPr sz="3600" b="1" i="0" spc="-1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"/>
          </p:nvPr>
        </p:nvSpPr>
        <p:spPr>
          <a:xfrm>
            <a:off x="1278164" y="3383095"/>
            <a:ext cx="9618436" cy="35265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 algn="r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744879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Section Hea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spect="1"/>
          </p:cNvSpPr>
          <p:nvPr userDrawn="1"/>
        </p:nvSpPr>
        <p:spPr>
          <a:xfrm>
            <a:off x="768173" y="5885298"/>
            <a:ext cx="10622996" cy="97270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7"/>
          </p:nvPr>
        </p:nvSpPr>
        <p:spPr>
          <a:xfrm>
            <a:off x="371062" y="393539"/>
            <a:ext cx="11417456" cy="4629388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endParaRPr lang="en-US" dirty="0"/>
          </a:p>
        </p:txBody>
      </p:sp>
      <p:sp>
        <p:nvSpPr>
          <p:cNvPr id="17" name="Rectangle 16"/>
          <p:cNvSpPr>
            <a:spLocks noChangeAspect="1"/>
          </p:cNvSpPr>
          <p:nvPr userDrawn="1"/>
        </p:nvSpPr>
        <p:spPr>
          <a:xfrm>
            <a:off x="371061" y="4931141"/>
            <a:ext cx="11423374" cy="9727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8" name="Rectangle 17"/>
          <p:cNvSpPr>
            <a:spLocks noChangeAspect="1"/>
          </p:cNvSpPr>
          <p:nvPr userDrawn="1"/>
        </p:nvSpPr>
        <p:spPr>
          <a:xfrm>
            <a:off x="-102230" y="5797416"/>
            <a:ext cx="12398829" cy="195559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6" name="Text Placeholder 2"/>
          <p:cNvSpPr>
            <a:spLocks noGrp="1"/>
          </p:cNvSpPr>
          <p:nvPr>
            <p:ph type="body" idx="15"/>
          </p:nvPr>
        </p:nvSpPr>
        <p:spPr>
          <a:xfrm>
            <a:off x="6197600" y="5187953"/>
            <a:ext cx="4699000" cy="35265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 algn="r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idx="16"/>
          </p:nvPr>
        </p:nvSpPr>
        <p:spPr>
          <a:xfrm>
            <a:off x="1273215" y="5187953"/>
            <a:ext cx="4699000" cy="35265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 algn="l">
              <a:buNone/>
              <a:defRPr sz="1400" b="1" i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688065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Only">
    <p:bg>
      <p:bgPr>
        <a:solidFill>
          <a:schemeClr val="accent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6C2E2AD-728B-4A74-82B7-423700E3FB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8138660"/>
              </p:ext>
            </p:ext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Slide do think-cell" r:id="rId5" imgW="335" imgH="335" progId="TCLayout.ActiveDocument.1">
                  <p:embed/>
                </p:oleObj>
              </mc:Choice>
              <mc:Fallback>
                <p:oleObj name="Slide do think-cell" r:id="rId5" imgW="335" imgH="33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6C2E2AD-728B-4A74-82B7-423700E3FB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643263A-468A-44CF-A468-90CA12402A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fontAlgn="base"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585831" y="234865"/>
            <a:ext cx="9324003" cy="31402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247759" y="6639224"/>
            <a:ext cx="170101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816" smtClean="0">
                <a:solidFill>
                  <a:srgbClr val="80808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sz="816" dirty="0">
              <a:solidFill>
                <a:srgbClr val="808080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 fontAlgn="base">
              <a:spcBef>
                <a:spcPct val="0"/>
              </a:spcBef>
              <a:spcAft>
                <a:spcPct val="0"/>
              </a:spcAft>
            </a:pPr>
            <a:endParaRPr lang="en-US" sz="612" dirty="0">
              <a:solidFill>
                <a:srgbClr val="808080"/>
              </a:solidFill>
            </a:endParaRPr>
          </a:p>
        </p:txBody>
      </p:sp>
      <p:sp>
        <p:nvSpPr>
          <p:cNvPr id="3" name="SlideLogoText" hidden="1">
            <a:extLst>
              <a:ext uri="{FF2B5EF4-FFF2-40B4-BE49-F238E27FC236}">
                <a16:creationId xmlns:a16="http://schemas.microsoft.com/office/drawing/2014/main" id="{24BEA663-3AE7-43AA-9DEF-3C8D00331FBE}"/>
              </a:ext>
            </a:extLst>
          </p:cNvPr>
          <p:cNvSpPr txBox="1"/>
          <p:nvPr userDrawn="1"/>
        </p:nvSpPr>
        <p:spPr>
          <a:xfrm>
            <a:off x="10490964" y="6641683"/>
            <a:ext cx="1050047" cy="128097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816" dirty="0">
                <a:solidFill>
                  <a:srgbClr val="808080"/>
                </a:solidFill>
              </a:rPr>
              <a:t>McKinsey &amp; Company</a:t>
            </a:r>
          </a:p>
        </p:txBody>
      </p:sp>
      <p:pic>
        <p:nvPicPr>
          <p:cNvPr id="7" name="Picture 6" hidden="1">
            <a:extLst>
              <a:ext uri="{FF2B5EF4-FFF2-40B4-BE49-F238E27FC236}">
                <a16:creationId xmlns:a16="http://schemas.microsoft.com/office/drawing/2014/main" id="{77800B73-3AE1-4633-874D-44F5B846B28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762279" y="-753032"/>
            <a:ext cx="936519" cy="232366"/>
          </a:xfrm>
          <a:prstGeom prst="rect">
            <a:avLst/>
          </a:prstGeom>
        </p:spPr>
      </p:pic>
      <p:grpSp>
        <p:nvGrpSpPr>
          <p:cNvPr id="9" name="Agrupar 6330">
            <a:extLst>
              <a:ext uri="{FF2B5EF4-FFF2-40B4-BE49-F238E27FC236}">
                <a16:creationId xmlns:a16="http://schemas.microsoft.com/office/drawing/2014/main" id="{92D462DC-653C-F747-A9D8-3DF206D5A5FF}"/>
              </a:ext>
            </a:extLst>
          </p:cNvPr>
          <p:cNvGrpSpPr/>
          <p:nvPr userDrawn="1"/>
        </p:nvGrpSpPr>
        <p:grpSpPr>
          <a:xfrm>
            <a:off x="11735463" y="188690"/>
            <a:ext cx="456537" cy="204176"/>
            <a:chOff x="17393497" y="369865"/>
            <a:chExt cx="894884" cy="400222"/>
          </a:xfrm>
        </p:grpSpPr>
        <p:sp>
          <p:nvSpPr>
            <p:cNvPr id="10" name="Forma Livre: Forma 6321">
              <a:extLst>
                <a:ext uri="{FF2B5EF4-FFF2-40B4-BE49-F238E27FC236}">
                  <a16:creationId xmlns:a16="http://schemas.microsoft.com/office/drawing/2014/main" id="{FE7705BB-D291-594A-AC27-AAAA358F0EF0}"/>
                </a:ext>
              </a:extLst>
            </p:cNvPr>
            <p:cNvSpPr/>
            <p:nvPr/>
          </p:nvSpPr>
          <p:spPr>
            <a:xfrm>
              <a:off x="17393497" y="369865"/>
              <a:ext cx="894884" cy="38080"/>
            </a:xfrm>
            <a:custGeom>
              <a:avLst/>
              <a:gdLst>
                <a:gd name="connsiteX0" fmla="*/ 0 w 894883"/>
                <a:gd name="connsiteY0" fmla="*/ 0 h 38080"/>
                <a:gd name="connsiteX1" fmla="*/ 896883 w 894883"/>
                <a:gd name="connsiteY1" fmla="*/ 0 h 38080"/>
                <a:gd name="connsiteX2" fmla="*/ 896883 w 894883"/>
                <a:gd name="connsiteY2" fmla="*/ 38461 h 38080"/>
                <a:gd name="connsiteX3" fmla="*/ 0 w 894883"/>
                <a:gd name="connsiteY3" fmla="*/ 38461 h 38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4883" h="38080">
                  <a:moveTo>
                    <a:pt x="0" y="0"/>
                  </a:moveTo>
                  <a:lnTo>
                    <a:pt x="896883" y="0"/>
                  </a:lnTo>
                  <a:lnTo>
                    <a:pt x="896883" y="38461"/>
                  </a:lnTo>
                  <a:lnTo>
                    <a:pt x="0" y="38461"/>
                  </a:lnTo>
                  <a:close/>
                </a:path>
              </a:pathLst>
            </a:custGeom>
            <a:solidFill>
              <a:srgbClr val="FF5000"/>
            </a:solidFill>
            <a:ln w="95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pt-BR" sz="689" dirty="0">
                <a:solidFill>
                  <a:srgbClr val="000000"/>
                </a:solidFill>
              </a:endParaRPr>
            </a:p>
          </p:txBody>
        </p:sp>
        <p:sp>
          <p:nvSpPr>
            <p:cNvPr id="11" name="Forma Livre: Forma 6322">
              <a:extLst>
                <a:ext uri="{FF2B5EF4-FFF2-40B4-BE49-F238E27FC236}">
                  <a16:creationId xmlns:a16="http://schemas.microsoft.com/office/drawing/2014/main" id="{D691F90E-4761-1044-8C46-0B2455CD0539}"/>
                </a:ext>
              </a:extLst>
            </p:cNvPr>
            <p:cNvSpPr/>
            <p:nvPr/>
          </p:nvSpPr>
          <p:spPr>
            <a:xfrm>
              <a:off x="17393497" y="490579"/>
              <a:ext cx="894884" cy="38080"/>
            </a:xfrm>
            <a:custGeom>
              <a:avLst/>
              <a:gdLst>
                <a:gd name="connsiteX0" fmla="*/ 0 w 894883"/>
                <a:gd name="connsiteY0" fmla="*/ 0 h 38080"/>
                <a:gd name="connsiteX1" fmla="*/ 896883 w 894883"/>
                <a:gd name="connsiteY1" fmla="*/ 0 h 38080"/>
                <a:gd name="connsiteX2" fmla="*/ 896883 w 894883"/>
                <a:gd name="connsiteY2" fmla="*/ 38461 h 38080"/>
                <a:gd name="connsiteX3" fmla="*/ 0 w 894883"/>
                <a:gd name="connsiteY3" fmla="*/ 38461 h 38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4883" h="38080">
                  <a:moveTo>
                    <a:pt x="0" y="0"/>
                  </a:moveTo>
                  <a:lnTo>
                    <a:pt x="896883" y="0"/>
                  </a:lnTo>
                  <a:lnTo>
                    <a:pt x="896883" y="38461"/>
                  </a:lnTo>
                  <a:lnTo>
                    <a:pt x="0" y="38461"/>
                  </a:lnTo>
                  <a:close/>
                </a:path>
              </a:pathLst>
            </a:custGeom>
            <a:solidFill>
              <a:srgbClr val="FF5000"/>
            </a:solidFill>
            <a:ln w="95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pt-BR" sz="689" dirty="0">
                <a:solidFill>
                  <a:srgbClr val="000000"/>
                </a:solidFill>
              </a:endParaRPr>
            </a:p>
          </p:txBody>
        </p:sp>
        <p:sp>
          <p:nvSpPr>
            <p:cNvPr id="12" name="Forma Livre: Forma 6323">
              <a:extLst>
                <a:ext uri="{FF2B5EF4-FFF2-40B4-BE49-F238E27FC236}">
                  <a16:creationId xmlns:a16="http://schemas.microsoft.com/office/drawing/2014/main" id="{8AC2D039-9851-244C-BAA3-FC5BF23C25B9}"/>
                </a:ext>
              </a:extLst>
            </p:cNvPr>
            <p:cNvSpPr/>
            <p:nvPr/>
          </p:nvSpPr>
          <p:spPr>
            <a:xfrm>
              <a:off x="17393497" y="611293"/>
              <a:ext cx="894884" cy="38080"/>
            </a:xfrm>
            <a:custGeom>
              <a:avLst/>
              <a:gdLst>
                <a:gd name="connsiteX0" fmla="*/ 0 w 894883"/>
                <a:gd name="connsiteY0" fmla="*/ 0 h 38080"/>
                <a:gd name="connsiteX1" fmla="*/ 896883 w 894883"/>
                <a:gd name="connsiteY1" fmla="*/ 0 h 38080"/>
                <a:gd name="connsiteX2" fmla="*/ 896883 w 894883"/>
                <a:gd name="connsiteY2" fmla="*/ 38461 h 38080"/>
                <a:gd name="connsiteX3" fmla="*/ 0 w 894883"/>
                <a:gd name="connsiteY3" fmla="*/ 38461 h 38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4883" h="38080">
                  <a:moveTo>
                    <a:pt x="0" y="0"/>
                  </a:moveTo>
                  <a:lnTo>
                    <a:pt x="896883" y="0"/>
                  </a:lnTo>
                  <a:lnTo>
                    <a:pt x="896883" y="38461"/>
                  </a:lnTo>
                  <a:lnTo>
                    <a:pt x="0" y="38461"/>
                  </a:lnTo>
                  <a:close/>
                </a:path>
              </a:pathLst>
            </a:custGeom>
            <a:solidFill>
              <a:srgbClr val="FF5000"/>
            </a:solidFill>
            <a:ln w="95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pt-BR" sz="689" dirty="0">
                <a:solidFill>
                  <a:srgbClr val="000000"/>
                </a:solidFill>
              </a:endParaRPr>
            </a:p>
          </p:txBody>
        </p:sp>
        <p:sp>
          <p:nvSpPr>
            <p:cNvPr id="13" name="Forma Livre: Forma 6324">
              <a:extLst>
                <a:ext uri="{FF2B5EF4-FFF2-40B4-BE49-F238E27FC236}">
                  <a16:creationId xmlns:a16="http://schemas.microsoft.com/office/drawing/2014/main" id="{223E0C72-FF2F-174F-B0BA-69F8BCB943BE}"/>
                </a:ext>
              </a:extLst>
            </p:cNvPr>
            <p:cNvSpPr/>
            <p:nvPr/>
          </p:nvSpPr>
          <p:spPr>
            <a:xfrm>
              <a:off x="17393497" y="732007"/>
              <a:ext cx="894884" cy="38080"/>
            </a:xfrm>
            <a:custGeom>
              <a:avLst/>
              <a:gdLst>
                <a:gd name="connsiteX0" fmla="*/ 0 w 894883"/>
                <a:gd name="connsiteY0" fmla="*/ 0 h 38080"/>
                <a:gd name="connsiteX1" fmla="*/ 896883 w 894883"/>
                <a:gd name="connsiteY1" fmla="*/ 0 h 38080"/>
                <a:gd name="connsiteX2" fmla="*/ 896883 w 894883"/>
                <a:gd name="connsiteY2" fmla="*/ 38461 h 38080"/>
                <a:gd name="connsiteX3" fmla="*/ 0 w 894883"/>
                <a:gd name="connsiteY3" fmla="*/ 38461 h 38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4883" h="38080">
                  <a:moveTo>
                    <a:pt x="0" y="0"/>
                  </a:moveTo>
                  <a:lnTo>
                    <a:pt x="896883" y="0"/>
                  </a:lnTo>
                  <a:lnTo>
                    <a:pt x="896883" y="38461"/>
                  </a:lnTo>
                  <a:lnTo>
                    <a:pt x="0" y="38461"/>
                  </a:lnTo>
                  <a:close/>
                </a:path>
              </a:pathLst>
            </a:custGeom>
            <a:solidFill>
              <a:srgbClr val="FF5000"/>
            </a:solidFill>
            <a:ln w="95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pt-BR" sz="689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4" name="Picture 25" descr="NexaLogo.png">
            <a:extLst>
              <a:ext uri="{FF2B5EF4-FFF2-40B4-BE49-F238E27FC236}">
                <a16:creationId xmlns:a16="http://schemas.microsoft.com/office/drawing/2014/main" id="{849F3190-BB8B-734C-81A8-FEC2FC177F4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710" y="6530106"/>
            <a:ext cx="866170" cy="215096"/>
          </a:xfrm>
          <a:prstGeom prst="rect">
            <a:avLst/>
          </a:prstGeom>
        </p:spPr>
      </p:pic>
      <p:pic>
        <p:nvPicPr>
          <p:cNvPr id="15" name="Imagem 6326">
            <a:extLst>
              <a:ext uri="{FF2B5EF4-FFF2-40B4-BE49-F238E27FC236}">
                <a16:creationId xmlns:a16="http://schemas.microsoft.com/office/drawing/2014/main" id="{3C5D860F-57A5-CB4D-B67C-9DAB5E5ABF7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83764" y="189654"/>
            <a:ext cx="368253" cy="391429"/>
          </a:xfrm>
          <a:custGeom>
            <a:avLst/>
            <a:gdLst>
              <a:gd name="connsiteX0" fmla="*/ 0 w 1123364"/>
              <a:gd name="connsiteY0" fmla="*/ 0 h 1123364"/>
              <a:gd name="connsiteX1" fmla="*/ 1129682 w 1123364"/>
              <a:gd name="connsiteY1" fmla="*/ 0 h 1123364"/>
              <a:gd name="connsiteX2" fmla="*/ 1129682 w 1123364"/>
              <a:gd name="connsiteY2" fmla="*/ 1129682 h 1123364"/>
              <a:gd name="connsiteX3" fmla="*/ 0 w 1123364"/>
              <a:gd name="connsiteY3" fmla="*/ 1129682 h 1123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23364" h="1123364">
                <a:moveTo>
                  <a:pt x="0" y="0"/>
                </a:moveTo>
                <a:lnTo>
                  <a:pt x="1129682" y="0"/>
                </a:lnTo>
                <a:lnTo>
                  <a:pt x="1129682" y="1129682"/>
                </a:lnTo>
                <a:lnTo>
                  <a:pt x="0" y="1129682"/>
                </a:lnTo>
                <a:close/>
              </a:path>
            </a:pathLst>
          </a:custGeom>
          <a:ln/>
        </p:spPr>
      </p:pic>
      <p:pic>
        <p:nvPicPr>
          <p:cNvPr id="16" name="Imagem 6327">
            <a:extLst>
              <a:ext uri="{FF2B5EF4-FFF2-40B4-BE49-F238E27FC236}">
                <a16:creationId xmlns:a16="http://schemas.microsoft.com/office/drawing/2014/main" id="{CE548388-9EA7-C24C-B238-5EDC12D3CF1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7454" y="207447"/>
            <a:ext cx="334775" cy="355845"/>
          </a:xfrm>
          <a:custGeom>
            <a:avLst/>
            <a:gdLst>
              <a:gd name="connsiteX0" fmla="*/ 0 w 1123364"/>
              <a:gd name="connsiteY0" fmla="*/ 0 h 1123364"/>
              <a:gd name="connsiteX1" fmla="*/ 1129682 w 1123364"/>
              <a:gd name="connsiteY1" fmla="*/ 0 h 1123364"/>
              <a:gd name="connsiteX2" fmla="*/ 1129682 w 1123364"/>
              <a:gd name="connsiteY2" fmla="*/ 1129682 h 1123364"/>
              <a:gd name="connsiteX3" fmla="*/ 0 w 1123364"/>
              <a:gd name="connsiteY3" fmla="*/ 1129682 h 1123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23364" h="1123364">
                <a:moveTo>
                  <a:pt x="0" y="0"/>
                </a:moveTo>
                <a:lnTo>
                  <a:pt x="1129682" y="0"/>
                </a:lnTo>
                <a:lnTo>
                  <a:pt x="1129682" y="1129682"/>
                </a:lnTo>
                <a:lnTo>
                  <a:pt x="0" y="1129682"/>
                </a:lnTo>
                <a:close/>
              </a:path>
            </a:pathLst>
          </a:custGeom>
          <a:ln/>
        </p:spPr>
      </p:pic>
      <p:grpSp>
        <p:nvGrpSpPr>
          <p:cNvPr id="17" name="Grupo 15">
            <a:extLst>
              <a:ext uri="{FF2B5EF4-FFF2-40B4-BE49-F238E27FC236}">
                <a16:creationId xmlns:a16="http://schemas.microsoft.com/office/drawing/2014/main" id="{FA9D59A3-7055-E943-9E6F-15047D73F773}"/>
              </a:ext>
            </a:extLst>
          </p:cNvPr>
          <p:cNvGrpSpPr/>
          <p:nvPr userDrawn="1"/>
        </p:nvGrpSpPr>
        <p:grpSpPr>
          <a:xfrm>
            <a:off x="1" y="1367"/>
            <a:ext cx="585829" cy="715668"/>
            <a:chOff x="0" y="1339"/>
            <a:chExt cx="929014" cy="1134932"/>
          </a:xfrm>
        </p:grpSpPr>
        <p:sp>
          <p:nvSpPr>
            <p:cNvPr id="18" name="Forma Livre: Forma 6311">
              <a:extLst>
                <a:ext uri="{FF2B5EF4-FFF2-40B4-BE49-F238E27FC236}">
                  <a16:creationId xmlns:a16="http://schemas.microsoft.com/office/drawing/2014/main" id="{0DC1A6A0-AA9C-B447-883B-6F6BA9501A61}"/>
                </a:ext>
              </a:extLst>
            </p:cNvPr>
            <p:cNvSpPr/>
            <p:nvPr/>
          </p:nvSpPr>
          <p:spPr>
            <a:xfrm>
              <a:off x="835860" y="983950"/>
              <a:ext cx="19040" cy="152321"/>
            </a:xfrm>
            <a:custGeom>
              <a:avLst/>
              <a:gdLst>
                <a:gd name="connsiteX0" fmla="*/ 23705 w 38080"/>
                <a:gd name="connsiteY0" fmla="*/ 0 h 304641"/>
                <a:gd name="connsiteX1" fmla="*/ 0 w 38080"/>
                <a:gd name="connsiteY1" fmla="*/ 21706 h 304641"/>
                <a:gd name="connsiteX2" fmla="*/ 0 w 38080"/>
                <a:gd name="connsiteY2" fmla="*/ 290552 h 304641"/>
                <a:gd name="connsiteX3" fmla="*/ 23705 w 38080"/>
                <a:gd name="connsiteY3" fmla="*/ 312257 h 304641"/>
                <a:gd name="connsiteX4" fmla="*/ 47410 w 38080"/>
                <a:gd name="connsiteY4" fmla="*/ 290552 h 304641"/>
                <a:gd name="connsiteX5" fmla="*/ 47410 w 38080"/>
                <a:gd name="connsiteY5" fmla="*/ 21706 h 304641"/>
                <a:gd name="connsiteX6" fmla="*/ 23705 w 38080"/>
                <a:gd name="connsiteY6" fmla="*/ 0 h 304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080" h="304641">
                  <a:moveTo>
                    <a:pt x="23705" y="0"/>
                  </a:moveTo>
                  <a:cubicBezTo>
                    <a:pt x="10567" y="0"/>
                    <a:pt x="0" y="9710"/>
                    <a:pt x="0" y="21706"/>
                  </a:cubicBezTo>
                  <a:lnTo>
                    <a:pt x="0" y="290552"/>
                  </a:lnTo>
                  <a:cubicBezTo>
                    <a:pt x="0" y="302547"/>
                    <a:pt x="10662" y="312257"/>
                    <a:pt x="23705" y="312257"/>
                  </a:cubicBezTo>
                  <a:cubicBezTo>
                    <a:pt x="36843" y="312257"/>
                    <a:pt x="47410" y="302547"/>
                    <a:pt x="47410" y="290552"/>
                  </a:cubicBezTo>
                  <a:lnTo>
                    <a:pt x="47410" y="21706"/>
                  </a:lnTo>
                  <a:cubicBezTo>
                    <a:pt x="47410" y="9806"/>
                    <a:pt x="36747" y="0"/>
                    <a:pt x="23705" y="0"/>
                  </a:cubicBezTo>
                  <a:close/>
                </a:path>
              </a:pathLst>
            </a:custGeom>
            <a:solidFill>
              <a:srgbClr val="FF5000"/>
            </a:solidFill>
            <a:ln w="95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pt-BR" sz="689" dirty="0">
                <a:solidFill>
                  <a:srgbClr val="000000"/>
                </a:solidFill>
              </a:endParaRPr>
            </a:p>
          </p:txBody>
        </p:sp>
        <p:sp>
          <p:nvSpPr>
            <p:cNvPr id="19" name="Forma Livre: Forma 6312">
              <a:extLst>
                <a:ext uri="{FF2B5EF4-FFF2-40B4-BE49-F238E27FC236}">
                  <a16:creationId xmlns:a16="http://schemas.microsoft.com/office/drawing/2014/main" id="{DAF47366-BF6A-744B-9F60-2758580A2138}"/>
                </a:ext>
              </a:extLst>
            </p:cNvPr>
            <p:cNvSpPr/>
            <p:nvPr/>
          </p:nvSpPr>
          <p:spPr>
            <a:xfrm>
              <a:off x="762413" y="1051161"/>
              <a:ext cx="166601" cy="19040"/>
            </a:xfrm>
            <a:custGeom>
              <a:avLst/>
              <a:gdLst>
                <a:gd name="connsiteX0" fmla="*/ 317398 w 333201"/>
                <a:gd name="connsiteY0" fmla="*/ 0 h 38080"/>
                <a:gd name="connsiteX1" fmla="*/ 23705 w 333201"/>
                <a:gd name="connsiteY1" fmla="*/ 0 h 38080"/>
                <a:gd name="connsiteX2" fmla="*/ 0 w 333201"/>
                <a:gd name="connsiteY2" fmla="*/ 21706 h 38080"/>
                <a:gd name="connsiteX3" fmla="*/ 23705 w 333201"/>
                <a:gd name="connsiteY3" fmla="*/ 43411 h 38080"/>
                <a:gd name="connsiteX4" fmla="*/ 317398 w 333201"/>
                <a:gd name="connsiteY4" fmla="*/ 43411 h 38080"/>
                <a:gd name="connsiteX5" fmla="*/ 341103 w 333201"/>
                <a:gd name="connsiteY5" fmla="*/ 21706 h 38080"/>
                <a:gd name="connsiteX6" fmla="*/ 317398 w 333201"/>
                <a:gd name="connsiteY6" fmla="*/ 0 h 38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201" h="38080">
                  <a:moveTo>
                    <a:pt x="317398" y="0"/>
                  </a:moveTo>
                  <a:lnTo>
                    <a:pt x="23705" y="0"/>
                  </a:lnTo>
                  <a:cubicBezTo>
                    <a:pt x="10567" y="0"/>
                    <a:pt x="0" y="9710"/>
                    <a:pt x="0" y="21706"/>
                  </a:cubicBezTo>
                  <a:cubicBezTo>
                    <a:pt x="0" y="33701"/>
                    <a:pt x="10662" y="43411"/>
                    <a:pt x="23705" y="43411"/>
                  </a:cubicBezTo>
                  <a:lnTo>
                    <a:pt x="317398" y="43411"/>
                  </a:lnTo>
                  <a:cubicBezTo>
                    <a:pt x="330536" y="43411"/>
                    <a:pt x="341103" y="33701"/>
                    <a:pt x="341103" y="21706"/>
                  </a:cubicBezTo>
                  <a:cubicBezTo>
                    <a:pt x="341103" y="9710"/>
                    <a:pt x="330536" y="0"/>
                    <a:pt x="317398" y="0"/>
                  </a:cubicBezTo>
                  <a:close/>
                </a:path>
              </a:pathLst>
            </a:custGeom>
            <a:solidFill>
              <a:srgbClr val="FF5000"/>
            </a:solidFill>
            <a:ln w="95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pt-BR" sz="689" dirty="0">
                <a:solidFill>
                  <a:srgbClr val="000000"/>
                </a:solidFill>
              </a:endParaRPr>
            </a:p>
          </p:txBody>
        </p:sp>
        <p:pic>
          <p:nvPicPr>
            <p:cNvPr id="20" name="Imagem 19">
              <a:extLst>
                <a:ext uri="{FF2B5EF4-FFF2-40B4-BE49-F238E27FC236}">
                  <a16:creationId xmlns:a16="http://schemas.microsoft.com/office/drawing/2014/main" id="{C08E4826-B0FB-0A4C-9468-101A665EEC0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0" y="1339"/>
              <a:ext cx="847284" cy="1090045"/>
            </a:xfrm>
            <a:custGeom>
              <a:avLst/>
              <a:gdLst>
                <a:gd name="connsiteX0" fmla="*/ 0 w 1694567"/>
                <a:gd name="connsiteY0" fmla="*/ 0 h 2180089"/>
                <a:gd name="connsiteX1" fmla="*/ 1694964 w 1694567"/>
                <a:gd name="connsiteY1" fmla="*/ 0 h 2180089"/>
                <a:gd name="connsiteX2" fmla="*/ 1694964 w 1694567"/>
                <a:gd name="connsiteY2" fmla="*/ 2189328 h 2180089"/>
                <a:gd name="connsiteX3" fmla="*/ 0 w 1694567"/>
                <a:gd name="connsiteY3" fmla="*/ 2189328 h 2180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94567" h="2180089">
                  <a:moveTo>
                    <a:pt x="0" y="0"/>
                  </a:moveTo>
                  <a:lnTo>
                    <a:pt x="1694964" y="0"/>
                  </a:lnTo>
                  <a:lnTo>
                    <a:pt x="1694964" y="2189328"/>
                  </a:lnTo>
                  <a:lnTo>
                    <a:pt x="0" y="2189328"/>
                  </a:lnTo>
                  <a:close/>
                </a:path>
              </a:pathLst>
            </a:custGeom>
            <a:ln/>
          </p:spPr>
        </p:pic>
      </p:grpSp>
      <p:pic>
        <p:nvPicPr>
          <p:cNvPr id="21" name="Imagem 20">
            <a:extLst>
              <a:ext uri="{FF2B5EF4-FFF2-40B4-BE49-F238E27FC236}">
                <a16:creationId xmlns:a16="http://schemas.microsoft.com/office/drawing/2014/main" id="{6CB0EC24-09F5-6443-88E2-CB8180548B8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474233" y="6398121"/>
            <a:ext cx="717767" cy="459880"/>
          </a:xfrm>
          <a:custGeom>
            <a:avLst/>
            <a:gdLst>
              <a:gd name="connsiteX0" fmla="*/ 0 w 4769540"/>
              <a:gd name="connsiteY0" fmla="*/ 0 h 3055933"/>
              <a:gd name="connsiteX1" fmla="*/ 4772326 w 4769540"/>
              <a:gd name="connsiteY1" fmla="*/ 0 h 3055933"/>
              <a:gd name="connsiteX2" fmla="*/ 4772326 w 4769540"/>
              <a:gd name="connsiteY2" fmla="*/ 3060008 h 3055933"/>
              <a:gd name="connsiteX3" fmla="*/ 0 w 4769540"/>
              <a:gd name="connsiteY3" fmla="*/ 3060008 h 3055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69540" h="3055933">
                <a:moveTo>
                  <a:pt x="0" y="0"/>
                </a:moveTo>
                <a:lnTo>
                  <a:pt x="4772326" y="0"/>
                </a:lnTo>
                <a:lnTo>
                  <a:pt x="4772326" y="3060008"/>
                </a:lnTo>
                <a:lnTo>
                  <a:pt x="0" y="3060008"/>
                </a:lnTo>
                <a:close/>
              </a:path>
            </a:pathLst>
          </a:custGeom>
          <a:ln/>
        </p:spPr>
      </p:pic>
      <p:pic>
        <p:nvPicPr>
          <p:cNvPr id="22" name="Imagem 6325">
            <a:extLst>
              <a:ext uri="{FF2B5EF4-FFF2-40B4-BE49-F238E27FC236}">
                <a16:creationId xmlns:a16="http://schemas.microsoft.com/office/drawing/2014/main" id="{25101C7E-A22C-3445-9DCD-0A8C6E79807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9595" y="227388"/>
            <a:ext cx="304341" cy="323495"/>
          </a:xfrm>
          <a:custGeom>
            <a:avLst/>
            <a:gdLst>
              <a:gd name="connsiteX0" fmla="*/ 0 w 1123364"/>
              <a:gd name="connsiteY0" fmla="*/ 0 h 1123364"/>
              <a:gd name="connsiteX1" fmla="*/ 1129682 w 1123364"/>
              <a:gd name="connsiteY1" fmla="*/ 0 h 1123364"/>
              <a:gd name="connsiteX2" fmla="*/ 1129682 w 1123364"/>
              <a:gd name="connsiteY2" fmla="*/ 1129682 h 1123364"/>
              <a:gd name="connsiteX3" fmla="*/ 0 w 1123364"/>
              <a:gd name="connsiteY3" fmla="*/ 1129682 h 1123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23364" h="1123364">
                <a:moveTo>
                  <a:pt x="0" y="0"/>
                </a:moveTo>
                <a:lnTo>
                  <a:pt x="1129682" y="0"/>
                </a:lnTo>
                <a:lnTo>
                  <a:pt x="1129682" y="1129682"/>
                </a:lnTo>
                <a:lnTo>
                  <a:pt x="0" y="1129682"/>
                </a:lnTo>
                <a:close/>
              </a:path>
            </a:pathLst>
          </a:custGeom>
          <a:ln/>
        </p:spPr>
      </p:pic>
    </p:spTree>
    <p:extLst>
      <p:ext uri="{BB962C8B-B14F-4D97-AF65-F5344CB8AC3E}">
        <p14:creationId xmlns:p14="http://schemas.microsoft.com/office/powerpoint/2010/main" val="17437513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Section Header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/>
          <p:cNvSpPr>
            <a:spLocks noGrp="1"/>
          </p:cNvSpPr>
          <p:nvPr>
            <p:ph type="pic" sz="quarter" idx="17"/>
          </p:nvPr>
        </p:nvSpPr>
        <p:spPr>
          <a:xfrm>
            <a:off x="371062" y="393539"/>
            <a:ext cx="11417456" cy="4629388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Rectangle 5"/>
          <p:cNvSpPr>
            <a:spLocks noChangeAspect="1"/>
          </p:cNvSpPr>
          <p:nvPr userDrawn="1"/>
        </p:nvSpPr>
        <p:spPr>
          <a:xfrm>
            <a:off x="768173" y="5885298"/>
            <a:ext cx="10622996" cy="9727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7" name="Rectangle 16"/>
          <p:cNvSpPr>
            <a:spLocks noChangeAspect="1"/>
          </p:cNvSpPr>
          <p:nvPr userDrawn="1"/>
        </p:nvSpPr>
        <p:spPr>
          <a:xfrm>
            <a:off x="371061" y="4931141"/>
            <a:ext cx="11423374" cy="9727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8" name="Rectangle 17"/>
          <p:cNvSpPr>
            <a:spLocks noChangeAspect="1"/>
          </p:cNvSpPr>
          <p:nvPr userDrawn="1"/>
        </p:nvSpPr>
        <p:spPr>
          <a:xfrm>
            <a:off x="-102230" y="5797416"/>
            <a:ext cx="12398829" cy="195559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Text Placeholder 2"/>
          <p:cNvSpPr>
            <a:spLocks noGrp="1"/>
          </p:cNvSpPr>
          <p:nvPr>
            <p:ph type="body" idx="15"/>
          </p:nvPr>
        </p:nvSpPr>
        <p:spPr>
          <a:xfrm>
            <a:off x="6197600" y="5187953"/>
            <a:ext cx="4699000" cy="35265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 algn="r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6"/>
          </p:nvPr>
        </p:nvSpPr>
        <p:spPr>
          <a:xfrm>
            <a:off x="1273215" y="5187953"/>
            <a:ext cx="4699000" cy="35265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 algn="l">
              <a:buNone/>
              <a:defRPr sz="1400" b="1" i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722469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Section Header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71061" y="393540"/>
            <a:ext cx="11417457" cy="549175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ADADA"/>
              </a:solidFill>
            </a:endParaRPr>
          </a:p>
        </p:txBody>
      </p:sp>
      <p:sp>
        <p:nvSpPr>
          <p:cNvPr id="6" name="Rectangle 5"/>
          <p:cNvSpPr>
            <a:spLocks noChangeAspect="1"/>
          </p:cNvSpPr>
          <p:nvPr userDrawn="1"/>
        </p:nvSpPr>
        <p:spPr>
          <a:xfrm>
            <a:off x="768173" y="5885298"/>
            <a:ext cx="10622996" cy="9727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Rectangle 10"/>
          <p:cNvSpPr>
            <a:spLocks noChangeAspect="1"/>
          </p:cNvSpPr>
          <p:nvPr userDrawn="1"/>
        </p:nvSpPr>
        <p:spPr>
          <a:xfrm>
            <a:off x="371060" y="393539"/>
            <a:ext cx="11417457" cy="9465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Text Placeholder 2"/>
          <p:cNvSpPr>
            <a:spLocks noGrp="1"/>
          </p:cNvSpPr>
          <p:nvPr>
            <p:ph type="body" idx="16"/>
          </p:nvPr>
        </p:nvSpPr>
        <p:spPr>
          <a:xfrm>
            <a:off x="1278164" y="690509"/>
            <a:ext cx="4699000" cy="35265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 algn="l">
              <a:buNone/>
              <a:defRPr sz="1400" b="1" i="0">
                <a:solidFill>
                  <a:schemeClr val="accent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1278164" y="1797982"/>
            <a:ext cx="9618436" cy="347322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FontTx/>
              <a:buNone/>
              <a:defRPr sz="1200" b="1">
                <a:solidFill>
                  <a:schemeClr val="accent5"/>
                </a:solidFill>
              </a:defRPr>
            </a:lvl1pPr>
            <a:lvl2pPr marL="457200" indent="0">
              <a:lnSpc>
                <a:spcPct val="100000"/>
              </a:lnSpc>
              <a:spcBef>
                <a:spcPts val="1000"/>
              </a:spcBef>
              <a:buFontTx/>
              <a:buNone/>
              <a:defRPr sz="1200">
                <a:solidFill>
                  <a:schemeClr val="accent5"/>
                </a:solidFill>
              </a:defRPr>
            </a:lvl2pPr>
            <a:lvl3pPr marL="914400" indent="0">
              <a:lnSpc>
                <a:spcPct val="100000"/>
              </a:lnSpc>
              <a:spcBef>
                <a:spcPts val="1000"/>
              </a:spcBef>
              <a:buFontTx/>
              <a:buNone/>
              <a:defRPr sz="1200">
                <a:solidFill>
                  <a:schemeClr val="accent5"/>
                </a:solidFill>
              </a:defRPr>
            </a:lvl3pPr>
            <a:lvl4pPr marL="1371600" indent="0">
              <a:lnSpc>
                <a:spcPct val="100000"/>
              </a:lnSpc>
              <a:spcBef>
                <a:spcPts val="1000"/>
              </a:spcBef>
              <a:buFontTx/>
              <a:buNone/>
              <a:defRPr sz="1200">
                <a:solidFill>
                  <a:schemeClr val="accent5"/>
                </a:solidFill>
              </a:defRPr>
            </a:lvl4pPr>
            <a:lvl5pPr marL="1828800" indent="0">
              <a:lnSpc>
                <a:spcPct val="100000"/>
              </a:lnSpc>
              <a:spcBef>
                <a:spcPts val="1000"/>
              </a:spcBef>
              <a:buFontTx/>
              <a:buNone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623431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93539" y="393540"/>
            <a:ext cx="11394979" cy="60709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73215" y="2885395"/>
            <a:ext cx="9634271" cy="15124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>
              <a:spcBef>
                <a:spcPts val="500"/>
              </a:spcBef>
              <a:tabLst>
                <a:tab pos="4217988" algn="l"/>
              </a:tabLst>
              <a:defRPr sz="3600" b="1" i="0" spc="-100" baseline="0">
                <a:solidFill>
                  <a:schemeClr val="accent5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78164" y="2401434"/>
            <a:ext cx="9618436" cy="35265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buNone/>
              <a:defRPr sz="1600">
                <a:solidFill>
                  <a:schemeClr val="accent5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381000" y="6466114"/>
            <a:ext cx="11397343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91886" y="6481989"/>
            <a:ext cx="27432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000" baseline="0">
                <a:solidFill>
                  <a:schemeClr val="accent5">
                    <a:lumMod val="60000"/>
                    <a:lumOff val="40000"/>
                  </a:schemeClr>
                </a:solidFill>
                <a:latin typeface="Verdana Regular" charset="0"/>
              </a:defRPr>
            </a:lvl1pPr>
          </a:lstStyle>
          <a:p>
            <a:fld id="{B55780C9-1218-2442-B992-B1EF8E30C659}" type="slidenum">
              <a:rPr lang="en-US" smtClean="0">
                <a:solidFill>
                  <a:srgbClr val="3B3B3B">
                    <a:lumMod val="60000"/>
                    <a:lumOff val="40000"/>
                  </a:srgbClr>
                </a:solidFill>
              </a:rPr>
              <a:pPr/>
              <a:t>‹Nº›</a:t>
            </a:fld>
            <a:endParaRPr lang="en-US" dirty="0">
              <a:solidFill>
                <a:srgbClr val="3B3B3B">
                  <a:lumMod val="60000"/>
                  <a:lumOff val="40000"/>
                </a:srgbClr>
              </a:solidFill>
            </a:endParaRPr>
          </a:p>
        </p:txBody>
      </p:sp>
      <p:sp>
        <p:nvSpPr>
          <p:cNvPr id="27" name="Footer Placeholder 6"/>
          <p:cNvSpPr>
            <a:spLocks noGrp="1"/>
          </p:cNvSpPr>
          <p:nvPr>
            <p:ph type="ftr" sz="quarter" idx="14"/>
          </p:nvPr>
        </p:nvSpPr>
        <p:spPr>
          <a:xfrm>
            <a:off x="7663543" y="6492875"/>
            <a:ext cx="41148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100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 dirty="0">
              <a:solidFill>
                <a:srgbClr val="3B3B3B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49466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93539" y="393540"/>
            <a:ext cx="11394979" cy="60709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381000" y="6466114"/>
            <a:ext cx="11397343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1278164" y="2401434"/>
            <a:ext cx="9618436" cy="35265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buNone/>
              <a:defRPr sz="1600">
                <a:solidFill>
                  <a:schemeClr val="accent5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91886" y="6481989"/>
            <a:ext cx="27432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000" baseline="0">
                <a:solidFill>
                  <a:schemeClr val="accent5">
                    <a:lumMod val="60000"/>
                    <a:lumOff val="40000"/>
                  </a:schemeClr>
                </a:solidFill>
                <a:latin typeface="Verdana Regular" charset="0"/>
              </a:defRPr>
            </a:lvl1pPr>
          </a:lstStyle>
          <a:p>
            <a:fld id="{B55780C9-1218-2442-B992-B1EF8E30C659}" type="slidenum">
              <a:rPr lang="en-US" smtClean="0">
                <a:solidFill>
                  <a:srgbClr val="3B3B3B">
                    <a:lumMod val="60000"/>
                    <a:lumOff val="40000"/>
                  </a:srgbClr>
                </a:solidFill>
              </a:rPr>
              <a:pPr/>
              <a:t>‹Nº›</a:t>
            </a:fld>
            <a:endParaRPr lang="en-US" dirty="0">
              <a:solidFill>
                <a:srgbClr val="3B3B3B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3" name="Footer Placeholder 6"/>
          <p:cNvSpPr>
            <a:spLocks noGrp="1"/>
          </p:cNvSpPr>
          <p:nvPr>
            <p:ph type="ftr" sz="quarter" idx="14"/>
          </p:nvPr>
        </p:nvSpPr>
        <p:spPr>
          <a:xfrm>
            <a:off x="7663543" y="6492875"/>
            <a:ext cx="41148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100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 dirty="0">
              <a:solidFill>
                <a:srgbClr val="3B3B3B">
                  <a:lumMod val="60000"/>
                  <a:lumOff val="40000"/>
                </a:srgbClr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273215" y="2885395"/>
            <a:ext cx="9634271" cy="15124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>
              <a:spcBef>
                <a:spcPts val="500"/>
              </a:spcBef>
              <a:tabLst>
                <a:tab pos="4217988" algn="l"/>
              </a:tabLst>
              <a:defRPr sz="3600" b="1" i="0" spc="-100" baseline="0">
                <a:solidFill>
                  <a:schemeClr val="accent5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95108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Header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93539" y="393540"/>
            <a:ext cx="11394979" cy="607092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381000" y="6466114"/>
            <a:ext cx="11397343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1278164" y="2401434"/>
            <a:ext cx="9618436" cy="35265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91886" y="6481989"/>
            <a:ext cx="27432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000" baseline="0">
                <a:solidFill>
                  <a:schemeClr val="accent3"/>
                </a:solidFill>
                <a:latin typeface="Verdana Regular" charset="0"/>
              </a:defRPr>
            </a:lvl1pPr>
          </a:lstStyle>
          <a:p>
            <a:fld id="{B55780C9-1218-2442-B992-B1EF8E30C659}" type="slidenum">
              <a:rPr lang="en-US" smtClean="0">
                <a:solidFill>
                  <a:srgbClr val="DADADA"/>
                </a:solidFill>
              </a:rPr>
              <a:pPr/>
              <a:t>‹Nº›</a:t>
            </a:fld>
            <a:endParaRPr lang="en-US" dirty="0">
              <a:solidFill>
                <a:srgbClr val="DADADA"/>
              </a:solidFill>
            </a:endParaRPr>
          </a:p>
        </p:txBody>
      </p:sp>
      <p:sp>
        <p:nvSpPr>
          <p:cNvPr id="13" name="Footer Placeholder 6"/>
          <p:cNvSpPr>
            <a:spLocks noGrp="1"/>
          </p:cNvSpPr>
          <p:nvPr>
            <p:ph type="ftr" sz="quarter" idx="14"/>
          </p:nvPr>
        </p:nvSpPr>
        <p:spPr>
          <a:xfrm>
            <a:off x="7663543" y="6492875"/>
            <a:ext cx="41148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1000">
                <a:solidFill>
                  <a:schemeClr val="accent3"/>
                </a:solidFill>
              </a:defRPr>
            </a:lvl1pPr>
          </a:lstStyle>
          <a:p>
            <a:endParaRPr lang="en-US" dirty="0">
              <a:solidFill>
                <a:srgbClr val="DADADA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273215" y="2885395"/>
            <a:ext cx="9634271" cy="15124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>
              <a:spcBef>
                <a:spcPts val="500"/>
              </a:spcBef>
              <a:tabLst>
                <a:tab pos="4217988" algn="l"/>
              </a:tabLst>
              <a:defRPr sz="3600" b="1" i="0" spc="-1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93482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Header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0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>
          <a:xfrm>
            <a:off x="393539" y="393540"/>
            <a:ext cx="11394979" cy="607092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73215" y="2885395"/>
            <a:ext cx="9634271" cy="15124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>
              <a:tabLst>
                <a:tab pos="4217988" algn="l"/>
              </a:tabLst>
              <a:defRPr sz="3600" b="1" i="0" spc="-1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381000" y="6466114"/>
            <a:ext cx="11397343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/>
          <p:cNvSpPr>
            <a:spLocks noGrp="1"/>
          </p:cNvSpPr>
          <p:nvPr>
            <p:ph type="body" idx="1"/>
          </p:nvPr>
        </p:nvSpPr>
        <p:spPr>
          <a:xfrm>
            <a:off x="1278164" y="2401434"/>
            <a:ext cx="9618436" cy="35265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91886" y="6481989"/>
            <a:ext cx="27432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000" baseline="0">
                <a:solidFill>
                  <a:schemeClr val="accent3"/>
                </a:solidFill>
                <a:latin typeface="Verdana Regular" charset="0"/>
              </a:defRPr>
            </a:lvl1pPr>
          </a:lstStyle>
          <a:p>
            <a:fld id="{B55780C9-1218-2442-B992-B1EF8E30C659}" type="slidenum">
              <a:rPr lang="en-US" smtClean="0">
                <a:solidFill>
                  <a:srgbClr val="DADADA"/>
                </a:solidFill>
              </a:rPr>
              <a:pPr/>
              <a:t>‹Nº›</a:t>
            </a:fld>
            <a:endParaRPr lang="en-US" dirty="0">
              <a:solidFill>
                <a:srgbClr val="DADADA"/>
              </a:solidFill>
            </a:endParaRPr>
          </a:p>
        </p:txBody>
      </p:sp>
      <p:sp>
        <p:nvSpPr>
          <p:cNvPr id="16" name="Footer Placeholder 6"/>
          <p:cNvSpPr>
            <a:spLocks noGrp="1"/>
          </p:cNvSpPr>
          <p:nvPr>
            <p:ph type="ftr" sz="quarter" idx="14"/>
          </p:nvPr>
        </p:nvSpPr>
        <p:spPr>
          <a:xfrm>
            <a:off x="7663543" y="6492875"/>
            <a:ext cx="41148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1000">
                <a:solidFill>
                  <a:schemeClr val="accent3"/>
                </a:solidFill>
              </a:defRPr>
            </a:lvl1pPr>
          </a:lstStyle>
          <a:p>
            <a:endParaRPr lang="en-US" dirty="0">
              <a:solidFill>
                <a:srgbClr val="DADAD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28510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Hea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4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Straight Connector 13"/>
          <p:cNvCxnSpPr/>
          <p:nvPr userDrawn="1"/>
        </p:nvCxnSpPr>
        <p:spPr>
          <a:xfrm>
            <a:off x="381000" y="6466114"/>
            <a:ext cx="11397343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1273215" y="1815564"/>
            <a:ext cx="9634271" cy="177369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>
              <a:tabLst>
                <a:tab pos="4217988" algn="l"/>
              </a:tabLst>
              <a:defRPr sz="4200" b="1" i="0" spc="-100" baseline="0">
                <a:solidFill>
                  <a:schemeClr val="accent5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endParaRPr lang="en-US" dirty="0"/>
          </a:p>
        </p:txBody>
      </p:sp>
      <p:sp>
        <p:nvSpPr>
          <p:cNvPr id="20" name="Text Placeholder 2"/>
          <p:cNvSpPr>
            <a:spLocks noGrp="1"/>
          </p:cNvSpPr>
          <p:nvPr>
            <p:ph type="body" idx="1"/>
          </p:nvPr>
        </p:nvSpPr>
        <p:spPr>
          <a:xfrm>
            <a:off x="1278164" y="3693803"/>
            <a:ext cx="9629322" cy="17786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200">
                <a:solidFill>
                  <a:schemeClr val="accent5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1273175" y="1073747"/>
            <a:ext cx="642711" cy="64271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00"/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91886" y="6481989"/>
            <a:ext cx="27432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000" baseline="0">
                <a:solidFill>
                  <a:schemeClr val="accent5">
                    <a:lumMod val="60000"/>
                    <a:lumOff val="40000"/>
                  </a:schemeClr>
                </a:solidFill>
                <a:latin typeface="Verdana Regular" charset="0"/>
              </a:defRPr>
            </a:lvl1pPr>
          </a:lstStyle>
          <a:p>
            <a:fld id="{B55780C9-1218-2442-B992-B1EF8E30C659}" type="slidenum">
              <a:rPr lang="en-US" smtClean="0">
                <a:solidFill>
                  <a:srgbClr val="3B3B3B">
                    <a:lumMod val="60000"/>
                    <a:lumOff val="40000"/>
                  </a:srgbClr>
                </a:solidFill>
              </a:rPr>
              <a:pPr/>
              <a:t>‹Nº›</a:t>
            </a:fld>
            <a:endParaRPr lang="en-US" dirty="0">
              <a:solidFill>
                <a:srgbClr val="3B3B3B">
                  <a:lumMod val="60000"/>
                  <a:lumOff val="40000"/>
                </a:srgbClr>
              </a:solidFill>
            </a:endParaRPr>
          </a:p>
        </p:txBody>
      </p:sp>
      <p:sp>
        <p:nvSpPr>
          <p:cNvPr id="24" name="Footer Placeholder 6"/>
          <p:cNvSpPr>
            <a:spLocks noGrp="1"/>
          </p:cNvSpPr>
          <p:nvPr>
            <p:ph type="ftr" sz="quarter" idx="14"/>
          </p:nvPr>
        </p:nvSpPr>
        <p:spPr>
          <a:xfrm>
            <a:off x="7663543" y="6492875"/>
            <a:ext cx="41148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100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 dirty="0">
              <a:solidFill>
                <a:srgbClr val="3B3B3B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68620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ção 2 - página inter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  <p:grpSp>
        <p:nvGrpSpPr>
          <p:cNvPr id="3" name="Grupo 2"/>
          <p:cNvGrpSpPr/>
          <p:nvPr userDrawn="1"/>
        </p:nvGrpSpPr>
        <p:grpSpPr>
          <a:xfrm>
            <a:off x="-102230" y="6011527"/>
            <a:ext cx="12398829" cy="857489"/>
            <a:chOff x="-102230" y="4752681"/>
            <a:chExt cx="12398829" cy="2105318"/>
          </a:xfrm>
        </p:grpSpPr>
        <p:sp>
          <p:nvSpPr>
            <p:cNvPr id="4" name="Rectangle 5"/>
            <p:cNvSpPr>
              <a:spLocks noChangeAspect="1"/>
            </p:cNvSpPr>
            <p:nvPr userDrawn="1"/>
          </p:nvSpPr>
          <p:spPr>
            <a:xfrm>
              <a:off x="768173" y="5885298"/>
              <a:ext cx="10622996" cy="972701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5" name="Rectangle 24"/>
            <p:cNvSpPr>
              <a:spLocks noChangeAspect="1"/>
            </p:cNvSpPr>
            <p:nvPr userDrawn="1"/>
          </p:nvSpPr>
          <p:spPr>
            <a:xfrm>
              <a:off x="371061" y="4931141"/>
              <a:ext cx="11423374" cy="97270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6" name="Rectangle 17"/>
            <p:cNvSpPr>
              <a:spLocks noChangeAspect="1"/>
            </p:cNvSpPr>
            <p:nvPr/>
          </p:nvSpPr>
          <p:spPr>
            <a:xfrm>
              <a:off x="-102230" y="4752681"/>
              <a:ext cx="12398829" cy="195560"/>
            </a:xfrm>
            <a:prstGeom prst="rect">
              <a:avLst/>
            </a:prstGeom>
            <a:solidFill>
              <a:schemeClr val="accent5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91886" y="6493006"/>
            <a:ext cx="27432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000" baseline="0">
                <a:solidFill>
                  <a:schemeClr val="accent5">
                    <a:lumMod val="60000"/>
                    <a:lumOff val="40000"/>
                  </a:schemeClr>
                </a:solidFill>
                <a:latin typeface="Verdana Regular" charset="0"/>
              </a:defRPr>
            </a:lvl1pPr>
          </a:lstStyle>
          <a:p>
            <a:fld id="{B55780C9-1218-2442-B992-B1EF8E30C659}" type="slidenum">
              <a:rPr lang="en-US" smtClean="0">
                <a:solidFill>
                  <a:srgbClr val="3B3B3B">
                    <a:lumMod val="60000"/>
                    <a:lumOff val="40000"/>
                  </a:srgbClr>
                </a:solidFill>
              </a:rPr>
              <a:pPr/>
              <a:t>‹Nº›</a:t>
            </a:fld>
            <a:endParaRPr lang="en-US" dirty="0">
              <a:solidFill>
                <a:srgbClr val="3B3B3B">
                  <a:lumMod val="60000"/>
                  <a:lumOff val="40000"/>
                </a:srgbClr>
              </a:solidFill>
            </a:endParaRPr>
          </a:p>
        </p:txBody>
      </p:sp>
      <p:sp>
        <p:nvSpPr>
          <p:cNvPr id="8" name="Footer Placeholder 6"/>
          <p:cNvSpPr>
            <a:spLocks noGrp="1"/>
          </p:cNvSpPr>
          <p:nvPr>
            <p:ph type="ftr" sz="quarter" idx="14"/>
          </p:nvPr>
        </p:nvSpPr>
        <p:spPr>
          <a:xfrm>
            <a:off x="7663543" y="6503892"/>
            <a:ext cx="41148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100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 dirty="0">
              <a:solidFill>
                <a:srgbClr val="3B3B3B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536811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ection Header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/>
          <p:cNvCxnSpPr/>
          <p:nvPr userDrawn="1"/>
        </p:nvCxnSpPr>
        <p:spPr>
          <a:xfrm>
            <a:off x="381000" y="6466114"/>
            <a:ext cx="11397343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273215" y="1815564"/>
            <a:ext cx="9634271" cy="177369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>
              <a:tabLst>
                <a:tab pos="4217988" algn="l"/>
              </a:tabLst>
              <a:defRPr sz="4200" b="1" i="0" spc="-1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endParaRPr lang="en-US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idx="1"/>
          </p:nvPr>
        </p:nvSpPr>
        <p:spPr>
          <a:xfrm>
            <a:off x="1278164" y="3693803"/>
            <a:ext cx="9629322" cy="17786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1273175" y="1073747"/>
            <a:ext cx="642711" cy="64271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91886" y="6481989"/>
            <a:ext cx="27432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000" baseline="0">
                <a:solidFill>
                  <a:schemeClr val="accent3"/>
                </a:solidFill>
                <a:latin typeface="Verdana Regular" charset="0"/>
              </a:defRPr>
            </a:lvl1pPr>
          </a:lstStyle>
          <a:p>
            <a:fld id="{B55780C9-1218-2442-B992-B1EF8E30C659}" type="slidenum">
              <a:rPr lang="en-US" smtClean="0">
                <a:solidFill>
                  <a:srgbClr val="DADADA"/>
                </a:solidFill>
              </a:rPr>
              <a:pPr/>
              <a:t>‹Nº›</a:t>
            </a:fld>
            <a:endParaRPr lang="en-US" dirty="0">
              <a:solidFill>
                <a:srgbClr val="DADADA"/>
              </a:solidFill>
            </a:endParaRPr>
          </a:p>
        </p:txBody>
      </p:sp>
      <p:sp>
        <p:nvSpPr>
          <p:cNvPr id="20" name="Footer Placeholder 6"/>
          <p:cNvSpPr>
            <a:spLocks noGrp="1"/>
          </p:cNvSpPr>
          <p:nvPr>
            <p:ph type="ftr" sz="quarter" idx="14"/>
          </p:nvPr>
        </p:nvSpPr>
        <p:spPr>
          <a:xfrm>
            <a:off x="7663543" y="6492875"/>
            <a:ext cx="41148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1000">
                <a:solidFill>
                  <a:schemeClr val="accent3"/>
                </a:solidFill>
              </a:defRPr>
            </a:lvl1pPr>
          </a:lstStyle>
          <a:p>
            <a:endParaRPr lang="en-US" dirty="0">
              <a:solidFill>
                <a:srgbClr val="DADAD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0091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ection Header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/>
          <p:cNvCxnSpPr/>
          <p:nvPr userDrawn="1"/>
        </p:nvCxnSpPr>
        <p:spPr>
          <a:xfrm>
            <a:off x="381000" y="6466114"/>
            <a:ext cx="11397343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273215" y="1815564"/>
            <a:ext cx="9634271" cy="177369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>
              <a:tabLst>
                <a:tab pos="4217988" algn="l"/>
              </a:tabLst>
              <a:defRPr sz="4200" b="1" i="0" spc="-1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"/>
          </p:nvPr>
        </p:nvSpPr>
        <p:spPr>
          <a:xfrm>
            <a:off x="1278164" y="3693803"/>
            <a:ext cx="9629322" cy="17786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1273175" y="1073747"/>
            <a:ext cx="642711" cy="64271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91886" y="6481989"/>
            <a:ext cx="27432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000" baseline="0">
                <a:solidFill>
                  <a:schemeClr val="accent3"/>
                </a:solidFill>
                <a:latin typeface="Verdana Regular" charset="0"/>
              </a:defRPr>
            </a:lvl1pPr>
          </a:lstStyle>
          <a:p>
            <a:fld id="{B55780C9-1218-2442-B992-B1EF8E30C659}" type="slidenum">
              <a:rPr lang="en-US" smtClean="0">
                <a:solidFill>
                  <a:srgbClr val="DADADA"/>
                </a:solidFill>
              </a:rPr>
              <a:pPr/>
              <a:t>‹Nº›</a:t>
            </a:fld>
            <a:endParaRPr lang="en-US" dirty="0">
              <a:solidFill>
                <a:srgbClr val="DADADA"/>
              </a:solidFill>
            </a:endParaRPr>
          </a:p>
        </p:txBody>
      </p:sp>
      <p:sp>
        <p:nvSpPr>
          <p:cNvPr id="18" name="Footer Placeholder 6"/>
          <p:cNvSpPr>
            <a:spLocks noGrp="1"/>
          </p:cNvSpPr>
          <p:nvPr>
            <p:ph type="ftr" sz="quarter" idx="14"/>
          </p:nvPr>
        </p:nvSpPr>
        <p:spPr>
          <a:xfrm>
            <a:off x="7663543" y="6492875"/>
            <a:ext cx="41148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1000">
                <a:solidFill>
                  <a:schemeClr val="accent3"/>
                </a:solidFill>
              </a:defRPr>
            </a:lvl1pPr>
          </a:lstStyle>
          <a:p>
            <a:endParaRPr lang="en-US" dirty="0">
              <a:solidFill>
                <a:srgbClr val="DADAD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57871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- Contracapa 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orma Livre: Forma 6310">
            <a:extLst>
              <a:ext uri="{FF2B5EF4-FFF2-40B4-BE49-F238E27FC236}">
                <a16:creationId xmlns:a16="http://schemas.microsoft.com/office/drawing/2014/main" id="{F0564D02-8062-4D6E-9B6E-4F85FCD3A973}"/>
              </a:ext>
            </a:extLst>
          </p:cNvPr>
          <p:cNvSpPr/>
          <p:nvPr userDrawn="1"/>
        </p:nvSpPr>
        <p:spPr>
          <a:xfrm>
            <a:off x="1" y="1786"/>
            <a:ext cx="12192000" cy="6854431"/>
          </a:xfrm>
          <a:custGeom>
            <a:avLst/>
            <a:gdLst>
              <a:gd name="connsiteX0" fmla="*/ 0 w 18288000"/>
              <a:gd name="connsiteY0" fmla="*/ 0 h 10281645"/>
              <a:gd name="connsiteX1" fmla="*/ 18290284 w 18288000"/>
              <a:gd name="connsiteY1" fmla="*/ 0 h 10281645"/>
              <a:gd name="connsiteX2" fmla="*/ 18290284 w 18288000"/>
              <a:gd name="connsiteY2" fmla="*/ 10281645 h 10281645"/>
              <a:gd name="connsiteX3" fmla="*/ 0 w 18288000"/>
              <a:gd name="connsiteY3" fmla="*/ 10281645 h 102816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288000" h="10281645">
                <a:moveTo>
                  <a:pt x="0" y="0"/>
                </a:moveTo>
                <a:lnTo>
                  <a:pt x="18290284" y="0"/>
                </a:lnTo>
                <a:lnTo>
                  <a:pt x="18290284" y="10281645"/>
                </a:lnTo>
                <a:lnTo>
                  <a:pt x="0" y="10281645"/>
                </a:lnTo>
                <a:close/>
              </a:path>
            </a:pathLst>
          </a:custGeom>
          <a:solidFill>
            <a:srgbClr val="1E1E1E"/>
          </a:solidFill>
          <a:ln w="9520" cap="flat">
            <a:noFill/>
            <a:prstDash val="solid"/>
            <a:miter/>
          </a:ln>
        </p:spPr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pt-BR" sz="900" dirty="0">
              <a:solidFill>
                <a:srgbClr val="000000"/>
              </a:solidFill>
            </a:endParaRPr>
          </a:p>
        </p:txBody>
      </p:sp>
      <p:pic>
        <p:nvPicPr>
          <p:cNvPr id="37" name="Imagem 36">
            <a:extLst>
              <a:ext uri="{FF2B5EF4-FFF2-40B4-BE49-F238E27FC236}">
                <a16:creationId xmlns:a16="http://schemas.microsoft.com/office/drawing/2014/main" id="{FE2060D7-32AE-4013-914A-11503DC7253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37808" y="6114198"/>
            <a:ext cx="1153513" cy="739077"/>
          </a:xfrm>
          <a:custGeom>
            <a:avLst/>
            <a:gdLst>
              <a:gd name="connsiteX0" fmla="*/ 0 w 4769540"/>
              <a:gd name="connsiteY0" fmla="*/ 0 h 3055933"/>
              <a:gd name="connsiteX1" fmla="*/ 4772326 w 4769540"/>
              <a:gd name="connsiteY1" fmla="*/ 0 h 3055933"/>
              <a:gd name="connsiteX2" fmla="*/ 4772326 w 4769540"/>
              <a:gd name="connsiteY2" fmla="*/ 3060008 h 3055933"/>
              <a:gd name="connsiteX3" fmla="*/ 0 w 4769540"/>
              <a:gd name="connsiteY3" fmla="*/ 3060008 h 3055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69540" h="3055933">
                <a:moveTo>
                  <a:pt x="0" y="0"/>
                </a:moveTo>
                <a:lnTo>
                  <a:pt x="4772326" y="0"/>
                </a:lnTo>
                <a:lnTo>
                  <a:pt x="4772326" y="3060008"/>
                </a:lnTo>
                <a:lnTo>
                  <a:pt x="0" y="3060008"/>
                </a:lnTo>
                <a:close/>
              </a:path>
            </a:pathLst>
          </a:custGeom>
          <a:ln/>
        </p:spPr>
      </p:pic>
      <p:grpSp>
        <p:nvGrpSpPr>
          <p:cNvPr id="58" name="Grupo 57"/>
          <p:cNvGrpSpPr/>
          <p:nvPr userDrawn="1"/>
        </p:nvGrpSpPr>
        <p:grpSpPr>
          <a:xfrm>
            <a:off x="0" y="1"/>
            <a:ext cx="729326" cy="976393"/>
            <a:chOff x="0" y="1339"/>
            <a:chExt cx="929014" cy="1134932"/>
          </a:xfrm>
        </p:grpSpPr>
        <p:sp>
          <p:nvSpPr>
            <p:cNvPr id="59" name="Forma Livre: Forma 6311">
              <a:extLst>
                <a:ext uri="{FF2B5EF4-FFF2-40B4-BE49-F238E27FC236}">
                  <a16:creationId xmlns:a16="http://schemas.microsoft.com/office/drawing/2014/main" id="{4A2E10C2-A2B4-40D8-A5B3-1BA876EC8E3A}"/>
                </a:ext>
              </a:extLst>
            </p:cNvPr>
            <p:cNvSpPr/>
            <p:nvPr/>
          </p:nvSpPr>
          <p:spPr>
            <a:xfrm>
              <a:off x="835860" y="983950"/>
              <a:ext cx="19040" cy="152321"/>
            </a:xfrm>
            <a:custGeom>
              <a:avLst/>
              <a:gdLst>
                <a:gd name="connsiteX0" fmla="*/ 23705 w 38080"/>
                <a:gd name="connsiteY0" fmla="*/ 0 h 304641"/>
                <a:gd name="connsiteX1" fmla="*/ 0 w 38080"/>
                <a:gd name="connsiteY1" fmla="*/ 21706 h 304641"/>
                <a:gd name="connsiteX2" fmla="*/ 0 w 38080"/>
                <a:gd name="connsiteY2" fmla="*/ 290552 h 304641"/>
                <a:gd name="connsiteX3" fmla="*/ 23705 w 38080"/>
                <a:gd name="connsiteY3" fmla="*/ 312257 h 304641"/>
                <a:gd name="connsiteX4" fmla="*/ 47410 w 38080"/>
                <a:gd name="connsiteY4" fmla="*/ 290552 h 304641"/>
                <a:gd name="connsiteX5" fmla="*/ 47410 w 38080"/>
                <a:gd name="connsiteY5" fmla="*/ 21706 h 304641"/>
                <a:gd name="connsiteX6" fmla="*/ 23705 w 38080"/>
                <a:gd name="connsiteY6" fmla="*/ 0 h 304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080" h="304641">
                  <a:moveTo>
                    <a:pt x="23705" y="0"/>
                  </a:moveTo>
                  <a:cubicBezTo>
                    <a:pt x="10567" y="0"/>
                    <a:pt x="0" y="9710"/>
                    <a:pt x="0" y="21706"/>
                  </a:cubicBezTo>
                  <a:lnTo>
                    <a:pt x="0" y="290552"/>
                  </a:lnTo>
                  <a:cubicBezTo>
                    <a:pt x="0" y="302547"/>
                    <a:pt x="10662" y="312257"/>
                    <a:pt x="23705" y="312257"/>
                  </a:cubicBezTo>
                  <a:cubicBezTo>
                    <a:pt x="36843" y="312257"/>
                    <a:pt x="47410" y="302547"/>
                    <a:pt x="47410" y="290552"/>
                  </a:cubicBezTo>
                  <a:lnTo>
                    <a:pt x="47410" y="21706"/>
                  </a:lnTo>
                  <a:cubicBezTo>
                    <a:pt x="47410" y="9806"/>
                    <a:pt x="36747" y="0"/>
                    <a:pt x="23705" y="0"/>
                  </a:cubicBezTo>
                  <a:close/>
                </a:path>
              </a:pathLst>
            </a:custGeom>
            <a:solidFill>
              <a:srgbClr val="FF5000"/>
            </a:solidFill>
            <a:ln w="95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pt-BR" sz="900" dirty="0">
                <a:solidFill>
                  <a:srgbClr val="000000"/>
                </a:solidFill>
              </a:endParaRPr>
            </a:p>
          </p:txBody>
        </p:sp>
        <p:sp>
          <p:nvSpPr>
            <p:cNvPr id="60" name="Forma Livre: Forma 6312">
              <a:extLst>
                <a:ext uri="{FF2B5EF4-FFF2-40B4-BE49-F238E27FC236}">
                  <a16:creationId xmlns:a16="http://schemas.microsoft.com/office/drawing/2014/main" id="{425F0157-04AB-4B78-85D9-0DD854B75797}"/>
                </a:ext>
              </a:extLst>
            </p:cNvPr>
            <p:cNvSpPr/>
            <p:nvPr/>
          </p:nvSpPr>
          <p:spPr>
            <a:xfrm>
              <a:off x="762413" y="1051161"/>
              <a:ext cx="166601" cy="19040"/>
            </a:xfrm>
            <a:custGeom>
              <a:avLst/>
              <a:gdLst>
                <a:gd name="connsiteX0" fmla="*/ 317398 w 333201"/>
                <a:gd name="connsiteY0" fmla="*/ 0 h 38080"/>
                <a:gd name="connsiteX1" fmla="*/ 23705 w 333201"/>
                <a:gd name="connsiteY1" fmla="*/ 0 h 38080"/>
                <a:gd name="connsiteX2" fmla="*/ 0 w 333201"/>
                <a:gd name="connsiteY2" fmla="*/ 21706 h 38080"/>
                <a:gd name="connsiteX3" fmla="*/ 23705 w 333201"/>
                <a:gd name="connsiteY3" fmla="*/ 43411 h 38080"/>
                <a:gd name="connsiteX4" fmla="*/ 317398 w 333201"/>
                <a:gd name="connsiteY4" fmla="*/ 43411 h 38080"/>
                <a:gd name="connsiteX5" fmla="*/ 341103 w 333201"/>
                <a:gd name="connsiteY5" fmla="*/ 21706 h 38080"/>
                <a:gd name="connsiteX6" fmla="*/ 317398 w 333201"/>
                <a:gd name="connsiteY6" fmla="*/ 0 h 38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201" h="38080">
                  <a:moveTo>
                    <a:pt x="317398" y="0"/>
                  </a:moveTo>
                  <a:lnTo>
                    <a:pt x="23705" y="0"/>
                  </a:lnTo>
                  <a:cubicBezTo>
                    <a:pt x="10567" y="0"/>
                    <a:pt x="0" y="9710"/>
                    <a:pt x="0" y="21706"/>
                  </a:cubicBezTo>
                  <a:cubicBezTo>
                    <a:pt x="0" y="33701"/>
                    <a:pt x="10662" y="43411"/>
                    <a:pt x="23705" y="43411"/>
                  </a:cubicBezTo>
                  <a:lnTo>
                    <a:pt x="317398" y="43411"/>
                  </a:lnTo>
                  <a:cubicBezTo>
                    <a:pt x="330536" y="43411"/>
                    <a:pt x="341103" y="33701"/>
                    <a:pt x="341103" y="21706"/>
                  </a:cubicBezTo>
                  <a:cubicBezTo>
                    <a:pt x="341103" y="9710"/>
                    <a:pt x="330536" y="0"/>
                    <a:pt x="317398" y="0"/>
                  </a:cubicBezTo>
                  <a:close/>
                </a:path>
              </a:pathLst>
            </a:custGeom>
            <a:solidFill>
              <a:srgbClr val="FF5000"/>
            </a:solidFill>
            <a:ln w="95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pt-BR" sz="900" dirty="0">
                <a:solidFill>
                  <a:srgbClr val="000000"/>
                </a:solidFill>
              </a:endParaRPr>
            </a:p>
          </p:txBody>
        </p:sp>
        <p:pic>
          <p:nvPicPr>
            <p:cNvPr id="61" name="Imagem 60">
              <a:extLst>
                <a:ext uri="{FF2B5EF4-FFF2-40B4-BE49-F238E27FC236}">
                  <a16:creationId xmlns:a16="http://schemas.microsoft.com/office/drawing/2014/main" id="{1A0BC1A6-6F9C-4D66-AFC0-D6C8F3ACD2C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1339"/>
              <a:ext cx="847283" cy="1090046"/>
            </a:xfrm>
            <a:custGeom>
              <a:avLst/>
              <a:gdLst>
                <a:gd name="connsiteX0" fmla="*/ 0 w 1694567"/>
                <a:gd name="connsiteY0" fmla="*/ 0 h 2180089"/>
                <a:gd name="connsiteX1" fmla="*/ 1694964 w 1694567"/>
                <a:gd name="connsiteY1" fmla="*/ 0 h 2180089"/>
                <a:gd name="connsiteX2" fmla="*/ 1694964 w 1694567"/>
                <a:gd name="connsiteY2" fmla="*/ 2189328 h 2180089"/>
                <a:gd name="connsiteX3" fmla="*/ 0 w 1694567"/>
                <a:gd name="connsiteY3" fmla="*/ 2189328 h 2180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94567" h="2180089">
                  <a:moveTo>
                    <a:pt x="0" y="0"/>
                  </a:moveTo>
                  <a:lnTo>
                    <a:pt x="1694964" y="0"/>
                  </a:lnTo>
                  <a:lnTo>
                    <a:pt x="1694964" y="2189328"/>
                  </a:lnTo>
                  <a:lnTo>
                    <a:pt x="0" y="2189328"/>
                  </a:lnTo>
                  <a:close/>
                </a:path>
              </a:pathLst>
            </a:custGeom>
            <a:ln/>
          </p:spPr>
        </p:pic>
      </p:grpSp>
      <p:pic>
        <p:nvPicPr>
          <p:cNvPr id="10" name="Imagem 9"/>
          <p:cNvPicPr>
            <a:picLocks noChangeAspect="1"/>
          </p:cNvPicPr>
          <p:nvPr userDrawn="1"/>
        </p:nvPicPr>
        <p:blipFill rotWithShape="1">
          <a:blip r:embed="rId2"/>
          <a:srcRect l="9435" r="7787"/>
          <a:stretch/>
        </p:blipFill>
        <p:spPr>
          <a:xfrm>
            <a:off x="9443989" y="2250339"/>
            <a:ext cx="2422359" cy="2357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911835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8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traight Connector 6"/>
          <p:cNvCxnSpPr/>
          <p:nvPr userDrawn="1"/>
        </p:nvCxnSpPr>
        <p:spPr>
          <a:xfrm>
            <a:off x="381000" y="6466114"/>
            <a:ext cx="11397343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2"/>
          <p:cNvSpPr>
            <a:spLocks noGrp="1"/>
          </p:cNvSpPr>
          <p:nvPr>
            <p:ph type="body" idx="1"/>
          </p:nvPr>
        </p:nvSpPr>
        <p:spPr>
          <a:xfrm>
            <a:off x="385535" y="376691"/>
            <a:ext cx="11403694" cy="287337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spcBef>
                <a:spcPts val="500"/>
              </a:spcBef>
              <a:buNone/>
              <a:defRPr sz="1400" b="1">
                <a:solidFill>
                  <a:schemeClr val="accent5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91886" y="6481989"/>
            <a:ext cx="27432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000" baseline="0">
                <a:solidFill>
                  <a:schemeClr val="accent5">
                    <a:lumMod val="60000"/>
                    <a:lumOff val="40000"/>
                  </a:schemeClr>
                </a:solidFill>
                <a:latin typeface="Verdana Regular" charset="0"/>
              </a:defRPr>
            </a:lvl1pPr>
          </a:lstStyle>
          <a:p>
            <a:fld id="{B55780C9-1218-2442-B992-B1EF8E30C659}" type="slidenum">
              <a:rPr lang="en-US" smtClean="0">
                <a:solidFill>
                  <a:srgbClr val="3B3B3B">
                    <a:lumMod val="60000"/>
                    <a:lumOff val="40000"/>
                  </a:srgbClr>
                </a:solidFill>
              </a:rPr>
              <a:pPr/>
              <a:t>‹Nº›</a:t>
            </a:fld>
            <a:endParaRPr lang="en-US" dirty="0">
              <a:solidFill>
                <a:srgbClr val="3B3B3B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2" name="Footer Placeholder 6"/>
          <p:cNvSpPr>
            <a:spLocks noGrp="1"/>
          </p:cNvSpPr>
          <p:nvPr>
            <p:ph type="ftr" sz="quarter" idx="14"/>
          </p:nvPr>
        </p:nvSpPr>
        <p:spPr>
          <a:xfrm>
            <a:off x="7663543" y="6492875"/>
            <a:ext cx="41148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100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 dirty="0">
              <a:solidFill>
                <a:srgbClr val="3B3B3B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439530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Section Hea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2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Straight Connector 13"/>
          <p:cNvCxnSpPr/>
          <p:nvPr userDrawn="1"/>
        </p:nvCxnSpPr>
        <p:spPr>
          <a:xfrm>
            <a:off x="381000" y="6466114"/>
            <a:ext cx="11397343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91886" y="6481989"/>
            <a:ext cx="27432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000" baseline="0">
                <a:solidFill>
                  <a:schemeClr val="accent5">
                    <a:lumMod val="60000"/>
                    <a:lumOff val="40000"/>
                  </a:schemeClr>
                </a:solidFill>
                <a:latin typeface="Verdana Regular" charset="0"/>
              </a:defRPr>
            </a:lvl1pPr>
          </a:lstStyle>
          <a:p>
            <a:fld id="{B55780C9-1218-2442-B992-B1EF8E30C659}" type="slidenum">
              <a:rPr lang="en-US" smtClean="0">
                <a:solidFill>
                  <a:srgbClr val="3B3B3B">
                    <a:lumMod val="60000"/>
                    <a:lumOff val="40000"/>
                  </a:srgbClr>
                </a:solidFill>
              </a:rPr>
              <a:pPr/>
              <a:t>‹Nº›</a:t>
            </a:fld>
            <a:endParaRPr lang="en-US" dirty="0">
              <a:solidFill>
                <a:srgbClr val="3B3B3B">
                  <a:lumMod val="60000"/>
                  <a:lumOff val="40000"/>
                </a:srgbClr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4"/>
          </p:nvPr>
        </p:nvSpPr>
        <p:spPr>
          <a:xfrm>
            <a:off x="7663543" y="6492875"/>
            <a:ext cx="41148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100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 dirty="0">
              <a:solidFill>
                <a:srgbClr val="3B3B3B">
                  <a:lumMod val="60000"/>
                  <a:lumOff val="40000"/>
                </a:srgbClr>
              </a:solidFill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385535" y="376691"/>
            <a:ext cx="11403694" cy="287337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spcBef>
                <a:spcPts val="500"/>
              </a:spcBef>
              <a:buNone/>
              <a:defRPr sz="1400" b="1">
                <a:solidFill>
                  <a:schemeClr val="accent5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671782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ection Header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6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Straight Connector 13"/>
          <p:cNvCxnSpPr/>
          <p:nvPr userDrawn="1"/>
        </p:nvCxnSpPr>
        <p:spPr>
          <a:xfrm>
            <a:off x="381000" y="6466114"/>
            <a:ext cx="11397343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91886" y="6481989"/>
            <a:ext cx="27432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000" baseline="0">
                <a:solidFill>
                  <a:schemeClr val="accent3"/>
                </a:solidFill>
                <a:latin typeface="Verdana Regular" charset="0"/>
              </a:defRPr>
            </a:lvl1pPr>
          </a:lstStyle>
          <a:p>
            <a:fld id="{B55780C9-1218-2442-B992-B1EF8E30C659}" type="slidenum">
              <a:rPr lang="en-US" smtClean="0">
                <a:solidFill>
                  <a:srgbClr val="DADADA"/>
                </a:solidFill>
              </a:rPr>
              <a:pPr/>
              <a:t>‹Nº›</a:t>
            </a:fld>
            <a:endParaRPr lang="en-US" dirty="0">
              <a:solidFill>
                <a:srgbClr val="DADADA"/>
              </a:solidFill>
            </a:endParaRPr>
          </a:p>
        </p:txBody>
      </p:sp>
      <p:sp>
        <p:nvSpPr>
          <p:cNvPr id="13" name="Footer Placeholder 6"/>
          <p:cNvSpPr>
            <a:spLocks noGrp="1"/>
          </p:cNvSpPr>
          <p:nvPr>
            <p:ph type="ftr" sz="quarter" idx="14"/>
          </p:nvPr>
        </p:nvSpPr>
        <p:spPr>
          <a:xfrm>
            <a:off x="7663543" y="6492875"/>
            <a:ext cx="41148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1000">
                <a:solidFill>
                  <a:schemeClr val="accent3"/>
                </a:solidFill>
              </a:defRPr>
            </a:lvl1pPr>
          </a:lstStyle>
          <a:p>
            <a:endParaRPr lang="en-US" dirty="0">
              <a:solidFill>
                <a:srgbClr val="DADADA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idx="1"/>
          </p:nvPr>
        </p:nvSpPr>
        <p:spPr>
          <a:xfrm>
            <a:off x="385535" y="376691"/>
            <a:ext cx="11403694" cy="287337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spcBef>
                <a:spcPts val="50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17553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381000" y="6466114"/>
            <a:ext cx="11397343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3"/>
          <p:cNvSpPr>
            <a:spLocks noGrp="1"/>
          </p:cNvSpPr>
          <p:nvPr>
            <p:ph sz="quarter" idx="15"/>
          </p:nvPr>
        </p:nvSpPr>
        <p:spPr>
          <a:xfrm>
            <a:off x="1274165" y="1242480"/>
            <a:ext cx="4736891" cy="464606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200"/>
            </a:lvl1pPr>
            <a:lvl2pPr marL="457200" indent="0">
              <a:buFontTx/>
              <a:buNone/>
              <a:defRPr sz="1200"/>
            </a:lvl2pPr>
            <a:lvl3pPr marL="914400" indent="0">
              <a:buFontTx/>
              <a:buNone/>
              <a:defRPr sz="1200"/>
            </a:lvl3pPr>
            <a:lvl4pPr marL="1371600" indent="0">
              <a:buFontTx/>
              <a:buNone/>
              <a:defRPr sz="1200"/>
            </a:lvl4pPr>
            <a:lvl5pPr marL="1828800" indent="0">
              <a:buFontTx/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6"/>
          </p:nvPr>
        </p:nvSpPr>
        <p:spPr>
          <a:xfrm>
            <a:off x="6154775" y="1241596"/>
            <a:ext cx="4736891" cy="464606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200"/>
            </a:lvl1pPr>
            <a:lvl2pPr marL="457200" indent="0">
              <a:buFontTx/>
              <a:buNone/>
              <a:defRPr sz="1200"/>
            </a:lvl2pPr>
            <a:lvl3pPr marL="914400" indent="0">
              <a:buFontTx/>
              <a:buNone/>
              <a:defRPr sz="1200"/>
            </a:lvl3pPr>
            <a:lvl4pPr marL="1371600" indent="0">
              <a:buFontTx/>
              <a:buNone/>
              <a:defRPr sz="1200"/>
            </a:lvl4pPr>
            <a:lvl5pPr marL="1828800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91886" y="6481989"/>
            <a:ext cx="27432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000" baseline="0">
                <a:solidFill>
                  <a:schemeClr val="accent5">
                    <a:lumMod val="60000"/>
                    <a:lumOff val="40000"/>
                  </a:schemeClr>
                </a:solidFill>
                <a:latin typeface="Verdana Regular" charset="0"/>
              </a:defRPr>
            </a:lvl1pPr>
          </a:lstStyle>
          <a:p>
            <a:fld id="{B55780C9-1218-2442-B992-B1EF8E30C659}" type="slidenum">
              <a:rPr lang="en-US" smtClean="0">
                <a:solidFill>
                  <a:srgbClr val="3B3B3B">
                    <a:lumMod val="60000"/>
                    <a:lumOff val="40000"/>
                  </a:srgbClr>
                </a:solidFill>
              </a:rPr>
              <a:pPr/>
              <a:t>‹Nº›</a:t>
            </a:fld>
            <a:endParaRPr lang="en-US" dirty="0">
              <a:solidFill>
                <a:srgbClr val="3B3B3B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4" name="Footer Placeholder 6"/>
          <p:cNvSpPr>
            <a:spLocks noGrp="1"/>
          </p:cNvSpPr>
          <p:nvPr>
            <p:ph type="ftr" sz="quarter" idx="14"/>
          </p:nvPr>
        </p:nvSpPr>
        <p:spPr>
          <a:xfrm>
            <a:off x="7663543" y="6492875"/>
            <a:ext cx="41148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100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 dirty="0">
              <a:solidFill>
                <a:srgbClr val="3B3B3B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5" name="Text Placeholder 2"/>
          <p:cNvSpPr>
            <a:spLocks noGrp="1"/>
          </p:cNvSpPr>
          <p:nvPr>
            <p:ph type="body" idx="1"/>
          </p:nvPr>
        </p:nvSpPr>
        <p:spPr>
          <a:xfrm>
            <a:off x="385535" y="376691"/>
            <a:ext cx="11403694" cy="287337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400" b="1">
                <a:solidFill>
                  <a:schemeClr val="accent5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7665914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381000" y="6466114"/>
            <a:ext cx="11397343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Content Placeholder 3"/>
          <p:cNvSpPr>
            <a:spLocks noGrp="1"/>
          </p:cNvSpPr>
          <p:nvPr>
            <p:ph sz="quarter" idx="15"/>
          </p:nvPr>
        </p:nvSpPr>
        <p:spPr>
          <a:xfrm>
            <a:off x="1274165" y="1242480"/>
            <a:ext cx="4736891" cy="464606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2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2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2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6"/>
          </p:nvPr>
        </p:nvSpPr>
        <p:spPr>
          <a:xfrm>
            <a:off x="6154775" y="1241596"/>
            <a:ext cx="4736891" cy="464606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2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2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2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91886" y="6481989"/>
            <a:ext cx="27432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000" baseline="0">
                <a:solidFill>
                  <a:schemeClr val="accent3"/>
                </a:solidFill>
                <a:latin typeface="Verdana Regular" charset="0"/>
              </a:defRPr>
            </a:lvl1pPr>
          </a:lstStyle>
          <a:p>
            <a:fld id="{B55780C9-1218-2442-B992-B1EF8E30C659}" type="slidenum">
              <a:rPr lang="en-US" smtClean="0">
                <a:solidFill>
                  <a:srgbClr val="DADADA"/>
                </a:solidFill>
              </a:rPr>
              <a:pPr/>
              <a:t>‹Nº›</a:t>
            </a:fld>
            <a:endParaRPr lang="en-US" dirty="0">
              <a:solidFill>
                <a:srgbClr val="DADADA"/>
              </a:solidFill>
            </a:endParaRPr>
          </a:p>
        </p:txBody>
      </p:sp>
      <p:sp>
        <p:nvSpPr>
          <p:cNvPr id="15" name="Footer Placeholder 6"/>
          <p:cNvSpPr>
            <a:spLocks noGrp="1"/>
          </p:cNvSpPr>
          <p:nvPr>
            <p:ph type="ftr" sz="quarter" idx="14"/>
          </p:nvPr>
        </p:nvSpPr>
        <p:spPr>
          <a:xfrm>
            <a:off x="7663543" y="6492875"/>
            <a:ext cx="41148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1000">
                <a:solidFill>
                  <a:schemeClr val="accent3"/>
                </a:solidFill>
              </a:defRPr>
            </a:lvl1pPr>
          </a:lstStyle>
          <a:p>
            <a:endParaRPr lang="en-US" dirty="0">
              <a:solidFill>
                <a:srgbClr val="DADADA"/>
              </a:solidFill>
            </a:endParaRPr>
          </a:p>
        </p:txBody>
      </p:sp>
      <p:sp>
        <p:nvSpPr>
          <p:cNvPr id="16" name="Text Placeholder 2"/>
          <p:cNvSpPr>
            <a:spLocks noGrp="1"/>
          </p:cNvSpPr>
          <p:nvPr>
            <p:ph type="body" idx="1"/>
          </p:nvPr>
        </p:nvSpPr>
        <p:spPr>
          <a:xfrm>
            <a:off x="385535" y="376691"/>
            <a:ext cx="11403694" cy="287337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8846047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>
            <a:off x="381000" y="6466114"/>
            <a:ext cx="11397343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385535" y="376691"/>
            <a:ext cx="11403694" cy="287337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400" b="1">
                <a:solidFill>
                  <a:schemeClr val="accent5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274165" y="2684124"/>
            <a:ext cx="4736891" cy="312947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200"/>
            </a:lvl1pPr>
            <a:lvl2pPr marL="457200" indent="0">
              <a:buFontTx/>
              <a:buNone/>
              <a:defRPr sz="1200"/>
            </a:lvl2pPr>
            <a:lvl3pPr marL="914400" indent="0">
              <a:buFontTx/>
              <a:buNone/>
              <a:defRPr sz="1200"/>
            </a:lvl3pPr>
            <a:lvl4pPr marL="1371600" indent="0">
              <a:buFontTx/>
              <a:buNone/>
              <a:defRPr sz="1200"/>
            </a:lvl4pPr>
            <a:lvl5pPr marL="1828800" indent="0">
              <a:buFontTx/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6"/>
          </p:nvPr>
        </p:nvSpPr>
        <p:spPr>
          <a:xfrm>
            <a:off x="6154775" y="2683240"/>
            <a:ext cx="4736891" cy="312947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200"/>
            </a:lvl1pPr>
            <a:lvl2pPr marL="457200" indent="0">
              <a:buFontTx/>
              <a:buNone/>
              <a:defRPr sz="1200"/>
            </a:lvl2pPr>
            <a:lvl3pPr marL="914400" indent="0">
              <a:buFontTx/>
              <a:buNone/>
              <a:defRPr sz="1200"/>
            </a:lvl3pPr>
            <a:lvl4pPr marL="1371600" indent="0">
              <a:buFontTx/>
              <a:buNone/>
              <a:defRPr sz="1200"/>
            </a:lvl4pPr>
            <a:lvl5pPr marL="1828800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273215" y="1271576"/>
            <a:ext cx="9634271" cy="1261762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>
              <a:lnSpc>
                <a:spcPct val="100000"/>
              </a:lnSpc>
              <a:tabLst>
                <a:tab pos="4217988" algn="l"/>
              </a:tabLst>
              <a:defRPr sz="2800" b="1" i="0" spc="-100" baseline="0">
                <a:solidFill>
                  <a:schemeClr val="accent5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91886" y="6481989"/>
            <a:ext cx="27432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000" baseline="0">
                <a:solidFill>
                  <a:schemeClr val="accent5">
                    <a:lumMod val="60000"/>
                    <a:lumOff val="40000"/>
                  </a:schemeClr>
                </a:solidFill>
                <a:latin typeface="Verdana Regular" charset="0"/>
              </a:defRPr>
            </a:lvl1pPr>
          </a:lstStyle>
          <a:p>
            <a:fld id="{B55780C9-1218-2442-B992-B1EF8E30C659}" type="slidenum">
              <a:rPr lang="en-US" smtClean="0">
                <a:solidFill>
                  <a:srgbClr val="3B3B3B">
                    <a:lumMod val="60000"/>
                    <a:lumOff val="40000"/>
                  </a:srgbClr>
                </a:solidFill>
              </a:rPr>
              <a:pPr/>
              <a:t>‹Nº›</a:t>
            </a:fld>
            <a:endParaRPr lang="en-US" dirty="0">
              <a:solidFill>
                <a:srgbClr val="3B3B3B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6" name="Footer Placeholder 6"/>
          <p:cNvSpPr>
            <a:spLocks noGrp="1"/>
          </p:cNvSpPr>
          <p:nvPr>
            <p:ph type="ftr" sz="quarter" idx="14"/>
          </p:nvPr>
        </p:nvSpPr>
        <p:spPr>
          <a:xfrm>
            <a:off x="7663543" y="6492875"/>
            <a:ext cx="41148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100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 dirty="0">
              <a:solidFill>
                <a:srgbClr val="3B3B3B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94161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0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Straight Connector 5"/>
          <p:cNvCxnSpPr/>
          <p:nvPr userDrawn="1"/>
        </p:nvCxnSpPr>
        <p:spPr>
          <a:xfrm>
            <a:off x="381000" y="6466114"/>
            <a:ext cx="11397343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274165" y="2684124"/>
            <a:ext cx="4736891" cy="312947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2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2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2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6"/>
          </p:nvPr>
        </p:nvSpPr>
        <p:spPr>
          <a:xfrm>
            <a:off x="6154775" y="2683240"/>
            <a:ext cx="4736891" cy="312947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2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2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2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273215" y="1271576"/>
            <a:ext cx="9634271" cy="1261762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>
              <a:lnSpc>
                <a:spcPct val="100000"/>
              </a:lnSpc>
              <a:tabLst>
                <a:tab pos="4217988" algn="l"/>
              </a:tabLst>
              <a:defRPr sz="2800" b="1" i="0" spc="-1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91886" y="6481989"/>
            <a:ext cx="27432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000" baseline="0">
                <a:solidFill>
                  <a:schemeClr val="accent3"/>
                </a:solidFill>
                <a:latin typeface="Verdana Regular" charset="0"/>
              </a:defRPr>
            </a:lvl1pPr>
          </a:lstStyle>
          <a:p>
            <a:fld id="{B55780C9-1218-2442-B992-B1EF8E30C659}" type="slidenum">
              <a:rPr lang="en-US" smtClean="0">
                <a:solidFill>
                  <a:srgbClr val="DADADA"/>
                </a:solidFill>
              </a:rPr>
              <a:pPr/>
              <a:t>‹Nº›</a:t>
            </a:fld>
            <a:endParaRPr lang="en-US" dirty="0">
              <a:solidFill>
                <a:srgbClr val="DADADA"/>
              </a:solidFill>
            </a:endParaRPr>
          </a:p>
        </p:txBody>
      </p:sp>
      <p:sp>
        <p:nvSpPr>
          <p:cNvPr id="14" name="Footer Placeholder 6"/>
          <p:cNvSpPr>
            <a:spLocks noGrp="1"/>
          </p:cNvSpPr>
          <p:nvPr>
            <p:ph type="ftr" sz="quarter" idx="14"/>
          </p:nvPr>
        </p:nvSpPr>
        <p:spPr>
          <a:xfrm>
            <a:off x="7663543" y="6492875"/>
            <a:ext cx="41148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1000">
                <a:solidFill>
                  <a:schemeClr val="accent3"/>
                </a:solidFill>
              </a:defRPr>
            </a:lvl1pPr>
          </a:lstStyle>
          <a:p>
            <a:endParaRPr lang="en-US" dirty="0">
              <a:solidFill>
                <a:srgbClr val="DADADA"/>
              </a:solidFill>
            </a:endParaRPr>
          </a:p>
        </p:txBody>
      </p:sp>
      <p:sp>
        <p:nvSpPr>
          <p:cNvPr id="16" name="Text Placeholder 2"/>
          <p:cNvSpPr>
            <a:spLocks noGrp="1"/>
          </p:cNvSpPr>
          <p:nvPr>
            <p:ph type="body" idx="1"/>
          </p:nvPr>
        </p:nvSpPr>
        <p:spPr>
          <a:xfrm>
            <a:off x="385535" y="376691"/>
            <a:ext cx="11403694" cy="287337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9931588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>
            <a:off x="381000" y="6466114"/>
            <a:ext cx="11397343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385535" y="376691"/>
            <a:ext cx="11403694" cy="287337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400" b="1">
                <a:solidFill>
                  <a:schemeClr val="accent5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273215" y="1271576"/>
            <a:ext cx="9634271" cy="1261762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>
              <a:lnSpc>
                <a:spcPct val="100000"/>
              </a:lnSpc>
              <a:tabLst>
                <a:tab pos="4217988" algn="l"/>
              </a:tabLst>
              <a:defRPr sz="2800" b="1" i="0" spc="-100" baseline="0">
                <a:solidFill>
                  <a:schemeClr val="accent5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91886" y="6481989"/>
            <a:ext cx="27432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000" baseline="0">
                <a:solidFill>
                  <a:schemeClr val="accent5">
                    <a:lumMod val="60000"/>
                    <a:lumOff val="40000"/>
                  </a:schemeClr>
                </a:solidFill>
                <a:latin typeface="Verdana Regular" charset="0"/>
              </a:defRPr>
            </a:lvl1pPr>
          </a:lstStyle>
          <a:p>
            <a:fld id="{B55780C9-1218-2442-B992-B1EF8E30C659}" type="slidenum">
              <a:rPr lang="en-US" smtClean="0">
                <a:solidFill>
                  <a:srgbClr val="3B3B3B">
                    <a:lumMod val="60000"/>
                    <a:lumOff val="40000"/>
                  </a:srgbClr>
                </a:solidFill>
              </a:rPr>
              <a:pPr/>
              <a:t>‹Nº›</a:t>
            </a:fld>
            <a:endParaRPr lang="en-US" dirty="0">
              <a:solidFill>
                <a:srgbClr val="3B3B3B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6" name="Footer Placeholder 6"/>
          <p:cNvSpPr>
            <a:spLocks noGrp="1"/>
          </p:cNvSpPr>
          <p:nvPr>
            <p:ph type="ftr" sz="quarter" idx="14"/>
          </p:nvPr>
        </p:nvSpPr>
        <p:spPr>
          <a:xfrm>
            <a:off x="7663543" y="6492875"/>
            <a:ext cx="41148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100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 dirty="0">
              <a:solidFill>
                <a:srgbClr val="3B3B3B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8"/>
          </p:nvPr>
        </p:nvSpPr>
        <p:spPr>
          <a:xfrm>
            <a:off x="7772400" y="2683240"/>
            <a:ext cx="3113820" cy="312947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1000">
                <a:solidFill>
                  <a:schemeClr val="accent5"/>
                </a:solidFill>
              </a:defRPr>
            </a:lvl1pPr>
            <a:lvl2pPr marL="457200" indent="0">
              <a:buFontTx/>
              <a:buNone/>
              <a:defRPr sz="1000">
                <a:solidFill>
                  <a:schemeClr val="accent5"/>
                </a:solidFill>
              </a:defRPr>
            </a:lvl2pPr>
            <a:lvl3pPr marL="914400" indent="0">
              <a:buFontTx/>
              <a:buNone/>
              <a:defRPr sz="1000">
                <a:solidFill>
                  <a:schemeClr val="accent5"/>
                </a:solidFill>
              </a:defRPr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7" name="Content Placeholder 3"/>
          <p:cNvSpPr>
            <a:spLocks noGrp="1"/>
          </p:cNvSpPr>
          <p:nvPr>
            <p:ph sz="quarter" idx="19"/>
          </p:nvPr>
        </p:nvSpPr>
        <p:spPr>
          <a:xfrm>
            <a:off x="4528457" y="2687075"/>
            <a:ext cx="3113820" cy="312947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1000">
                <a:solidFill>
                  <a:schemeClr val="accent5"/>
                </a:solidFill>
              </a:defRPr>
            </a:lvl1pPr>
            <a:lvl2pPr marL="457200" indent="0">
              <a:buFontTx/>
              <a:buNone/>
              <a:defRPr sz="1000">
                <a:solidFill>
                  <a:schemeClr val="accent5"/>
                </a:solidFill>
              </a:defRPr>
            </a:lvl2pPr>
            <a:lvl3pPr marL="914400" indent="0">
              <a:buFontTx/>
              <a:buNone/>
              <a:defRPr sz="1000">
                <a:solidFill>
                  <a:schemeClr val="accent5"/>
                </a:solidFill>
              </a:defRPr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20"/>
          </p:nvPr>
        </p:nvSpPr>
        <p:spPr>
          <a:xfrm>
            <a:off x="1273215" y="2683240"/>
            <a:ext cx="3113820" cy="312947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1000">
                <a:solidFill>
                  <a:schemeClr val="accent5"/>
                </a:solidFill>
              </a:defRPr>
            </a:lvl1pPr>
            <a:lvl2pPr marL="457200" indent="0">
              <a:buFontTx/>
              <a:buNone/>
              <a:defRPr sz="1000">
                <a:solidFill>
                  <a:schemeClr val="accent5"/>
                </a:solidFill>
              </a:defRPr>
            </a:lvl2pPr>
            <a:lvl3pPr marL="914400" indent="0">
              <a:buFontTx/>
              <a:buNone/>
              <a:defRPr sz="1000">
                <a:solidFill>
                  <a:schemeClr val="accent5"/>
                </a:solidFill>
              </a:defRPr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9528539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>
            <a:off x="381000" y="6466114"/>
            <a:ext cx="11397343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273215" y="1271576"/>
            <a:ext cx="9634271" cy="1261762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>
              <a:lnSpc>
                <a:spcPct val="100000"/>
              </a:lnSpc>
              <a:tabLst>
                <a:tab pos="4217988" algn="l"/>
              </a:tabLst>
              <a:defRPr sz="2800" b="1" i="0" spc="-1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endParaRPr lang="en-US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8"/>
          </p:nvPr>
        </p:nvSpPr>
        <p:spPr>
          <a:xfrm>
            <a:off x="7772400" y="2683240"/>
            <a:ext cx="3113820" cy="312947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7" name="Content Placeholder 3"/>
          <p:cNvSpPr>
            <a:spLocks noGrp="1"/>
          </p:cNvSpPr>
          <p:nvPr>
            <p:ph sz="quarter" idx="19"/>
          </p:nvPr>
        </p:nvSpPr>
        <p:spPr>
          <a:xfrm>
            <a:off x="4528457" y="2687075"/>
            <a:ext cx="3113820" cy="312947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20"/>
          </p:nvPr>
        </p:nvSpPr>
        <p:spPr>
          <a:xfrm>
            <a:off x="1273215" y="2683240"/>
            <a:ext cx="3113820" cy="312947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91886" y="6481989"/>
            <a:ext cx="27432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000" baseline="0">
                <a:solidFill>
                  <a:schemeClr val="accent3"/>
                </a:solidFill>
                <a:latin typeface="Verdana Regular" charset="0"/>
              </a:defRPr>
            </a:lvl1pPr>
          </a:lstStyle>
          <a:p>
            <a:fld id="{B55780C9-1218-2442-B992-B1EF8E30C659}" type="slidenum">
              <a:rPr lang="en-US" smtClean="0">
                <a:solidFill>
                  <a:srgbClr val="DADADA"/>
                </a:solidFill>
              </a:rPr>
              <a:pPr/>
              <a:t>‹Nº›</a:t>
            </a:fld>
            <a:endParaRPr lang="en-US" dirty="0">
              <a:solidFill>
                <a:srgbClr val="DADADA"/>
              </a:solidFill>
            </a:endParaRPr>
          </a:p>
        </p:txBody>
      </p:sp>
      <p:sp>
        <p:nvSpPr>
          <p:cNvPr id="11" name="Footer Placeholder 6"/>
          <p:cNvSpPr>
            <a:spLocks noGrp="1"/>
          </p:cNvSpPr>
          <p:nvPr>
            <p:ph type="ftr" sz="quarter" idx="14"/>
          </p:nvPr>
        </p:nvSpPr>
        <p:spPr>
          <a:xfrm>
            <a:off x="7663543" y="6492875"/>
            <a:ext cx="41148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1000">
                <a:solidFill>
                  <a:schemeClr val="accent3"/>
                </a:solidFill>
              </a:defRPr>
            </a:lvl1pPr>
          </a:lstStyle>
          <a:p>
            <a:endParaRPr lang="en-US" dirty="0">
              <a:solidFill>
                <a:srgbClr val="DADADA"/>
              </a:solidFill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type="body" idx="1"/>
          </p:nvPr>
        </p:nvSpPr>
        <p:spPr>
          <a:xfrm>
            <a:off x="385535" y="376691"/>
            <a:ext cx="11403694" cy="287337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458309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>
            <a:off x="381000" y="6466114"/>
            <a:ext cx="11397343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3"/>
          <p:cNvSpPr>
            <a:spLocks noGrp="1"/>
          </p:cNvSpPr>
          <p:nvPr>
            <p:ph sz="quarter" idx="16"/>
          </p:nvPr>
        </p:nvSpPr>
        <p:spPr>
          <a:xfrm>
            <a:off x="1273215" y="2683240"/>
            <a:ext cx="2293748" cy="312947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800">
                <a:solidFill>
                  <a:schemeClr val="accent5"/>
                </a:solidFill>
              </a:defRPr>
            </a:lvl1pPr>
            <a:lvl2pPr marL="457200" indent="0">
              <a:buFontTx/>
              <a:buNone/>
              <a:defRPr sz="800">
                <a:solidFill>
                  <a:schemeClr val="accent5"/>
                </a:solidFill>
              </a:defRPr>
            </a:lvl2pPr>
            <a:lvl3pPr marL="914400" indent="0">
              <a:buFontTx/>
              <a:buNone/>
              <a:defRPr sz="800">
                <a:solidFill>
                  <a:schemeClr val="accent5"/>
                </a:solidFill>
              </a:defRPr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273215" y="1216205"/>
            <a:ext cx="9634271" cy="599754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>
              <a:lnSpc>
                <a:spcPct val="100000"/>
              </a:lnSpc>
              <a:tabLst>
                <a:tab pos="4217988" algn="l"/>
              </a:tabLst>
              <a:defRPr sz="2400" b="1" i="0" spc="-100" baseline="0">
                <a:solidFill>
                  <a:schemeClr val="accent5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endParaRPr lang="en-US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3721947" y="2683240"/>
            <a:ext cx="2293748" cy="312947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800">
                <a:solidFill>
                  <a:schemeClr val="accent5"/>
                </a:solidFill>
              </a:defRPr>
            </a:lvl1pPr>
            <a:lvl2pPr marL="457200" indent="0">
              <a:buFontTx/>
              <a:buNone/>
              <a:defRPr sz="800">
                <a:solidFill>
                  <a:schemeClr val="accent5"/>
                </a:solidFill>
              </a:defRPr>
            </a:lvl2pPr>
            <a:lvl3pPr marL="914400" indent="0">
              <a:buFontTx/>
              <a:buNone/>
              <a:defRPr sz="800">
                <a:solidFill>
                  <a:schemeClr val="accent5"/>
                </a:solidFill>
              </a:defRPr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8"/>
          </p:nvPr>
        </p:nvSpPr>
        <p:spPr>
          <a:xfrm>
            <a:off x="6170679" y="2683240"/>
            <a:ext cx="2293748" cy="312947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800">
                <a:solidFill>
                  <a:schemeClr val="accent5"/>
                </a:solidFill>
              </a:defRPr>
            </a:lvl1pPr>
            <a:lvl2pPr marL="457200" indent="0">
              <a:buFontTx/>
              <a:buNone/>
              <a:defRPr sz="800">
                <a:solidFill>
                  <a:schemeClr val="accent5"/>
                </a:solidFill>
              </a:defRPr>
            </a:lvl2pPr>
            <a:lvl3pPr marL="914400" indent="0">
              <a:buFontTx/>
              <a:buNone/>
              <a:defRPr sz="800">
                <a:solidFill>
                  <a:schemeClr val="accent5"/>
                </a:solidFill>
              </a:defRPr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9"/>
          </p:nvPr>
        </p:nvSpPr>
        <p:spPr>
          <a:xfrm>
            <a:off x="8598240" y="2683240"/>
            <a:ext cx="2293748" cy="312947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800">
                <a:solidFill>
                  <a:schemeClr val="accent5"/>
                </a:solidFill>
              </a:defRPr>
            </a:lvl1pPr>
            <a:lvl2pPr marL="457200" indent="0">
              <a:buFontTx/>
              <a:buNone/>
              <a:defRPr sz="800">
                <a:solidFill>
                  <a:schemeClr val="accent5"/>
                </a:solidFill>
              </a:defRPr>
            </a:lvl2pPr>
            <a:lvl3pPr marL="914400" indent="0">
              <a:buFontTx/>
              <a:buNone/>
              <a:defRPr sz="800">
                <a:solidFill>
                  <a:schemeClr val="accent5"/>
                </a:solidFill>
              </a:defRPr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1273215" y="1890848"/>
            <a:ext cx="9655536" cy="6699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91886" y="6481989"/>
            <a:ext cx="27432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000" baseline="0">
                <a:solidFill>
                  <a:schemeClr val="accent5">
                    <a:lumMod val="60000"/>
                    <a:lumOff val="40000"/>
                  </a:schemeClr>
                </a:solidFill>
                <a:latin typeface="Verdana Regular" charset="0"/>
              </a:defRPr>
            </a:lvl1pPr>
          </a:lstStyle>
          <a:p>
            <a:fld id="{B55780C9-1218-2442-B992-B1EF8E30C659}" type="slidenum">
              <a:rPr lang="en-US" smtClean="0">
                <a:solidFill>
                  <a:srgbClr val="3B3B3B">
                    <a:lumMod val="60000"/>
                    <a:lumOff val="40000"/>
                  </a:srgbClr>
                </a:solidFill>
              </a:rPr>
              <a:pPr/>
              <a:t>‹Nº›</a:t>
            </a:fld>
            <a:endParaRPr lang="en-US" dirty="0">
              <a:solidFill>
                <a:srgbClr val="3B3B3B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9" name="Footer Placeholder 6"/>
          <p:cNvSpPr>
            <a:spLocks noGrp="1"/>
          </p:cNvSpPr>
          <p:nvPr>
            <p:ph type="ftr" sz="quarter" idx="14"/>
          </p:nvPr>
        </p:nvSpPr>
        <p:spPr>
          <a:xfrm>
            <a:off x="7663543" y="6492875"/>
            <a:ext cx="41148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100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 dirty="0">
              <a:solidFill>
                <a:srgbClr val="3B3B3B">
                  <a:lumMod val="60000"/>
                  <a:lumOff val="40000"/>
                </a:srgbClr>
              </a:solidFill>
            </a:endParaRPr>
          </a:p>
        </p:txBody>
      </p:sp>
      <p:sp>
        <p:nvSpPr>
          <p:cNvPr id="20" name="Text Placeholder 2"/>
          <p:cNvSpPr>
            <a:spLocks noGrp="1"/>
          </p:cNvSpPr>
          <p:nvPr>
            <p:ph type="body" idx="1"/>
          </p:nvPr>
        </p:nvSpPr>
        <p:spPr>
          <a:xfrm>
            <a:off x="385535" y="376691"/>
            <a:ext cx="11403694" cy="287337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400" b="1">
                <a:solidFill>
                  <a:schemeClr val="accent5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4206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- Contracapa Es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orma Livre: Forma 6310">
            <a:extLst>
              <a:ext uri="{FF2B5EF4-FFF2-40B4-BE49-F238E27FC236}">
                <a16:creationId xmlns:a16="http://schemas.microsoft.com/office/drawing/2014/main" id="{F0564D02-8062-4D6E-9B6E-4F85FCD3A973}"/>
              </a:ext>
            </a:extLst>
          </p:cNvPr>
          <p:cNvSpPr/>
          <p:nvPr userDrawn="1"/>
        </p:nvSpPr>
        <p:spPr>
          <a:xfrm>
            <a:off x="1" y="1786"/>
            <a:ext cx="12192000" cy="6854431"/>
          </a:xfrm>
          <a:custGeom>
            <a:avLst/>
            <a:gdLst>
              <a:gd name="connsiteX0" fmla="*/ 0 w 18288000"/>
              <a:gd name="connsiteY0" fmla="*/ 0 h 10281645"/>
              <a:gd name="connsiteX1" fmla="*/ 18290284 w 18288000"/>
              <a:gd name="connsiteY1" fmla="*/ 0 h 10281645"/>
              <a:gd name="connsiteX2" fmla="*/ 18290284 w 18288000"/>
              <a:gd name="connsiteY2" fmla="*/ 10281645 h 10281645"/>
              <a:gd name="connsiteX3" fmla="*/ 0 w 18288000"/>
              <a:gd name="connsiteY3" fmla="*/ 10281645 h 102816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288000" h="10281645">
                <a:moveTo>
                  <a:pt x="0" y="0"/>
                </a:moveTo>
                <a:lnTo>
                  <a:pt x="18290284" y="0"/>
                </a:lnTo>
                <a:lnTo>
                  <a:pt x="18290284" y="10281645"/>
                </a:lnTo>
                <a:lnTo>
                  <a:pt x="0" y="10281645"/>
                </a:lnTo>
                <a:close/>
              </a:path>
            </a:pathLst>
          </a:custGeom>
          <a:solidFill>
            <a:srgbClr val="1E1E1E"/>
          </a:solidFill>
          <a:ln w="9520" cap="flat">
            <a:noFill/>
            <a:prstDash val="solid"/>
            <a:miter/>
          </a:ln>
        </p:spPr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pt-BR" sz="900" dirty="0">
              <a:solidFill>
                <a:srgbClr val="000000"/>
              </a:solidFill>
            </a:endParaRPr>
          </a:p>
        </p:txBody>
      </p:sp>
      <p:pic>
        <p:nvPicPr>
          <p:cNvPr id="37" name="Imagem 36">
            <a:extLst>
              <a:ext uri="{FF2B5EF4-FFF2-40B4-BE49-F238E27FC236}">
                <a16:creationId xmlns:a16="http://schemas.microsoft.com/office/drawing/2014/main" id="{FE2060D7-32AE-4013-914A-11503DC7253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37808" y="6114198"/>
            <a:ext cx="1153513" cy="739077"/>
          </a:xfrm>
          <a:custGeom>
            <a:avLst/>
            <a:gdLst>
              <a:gd name="connsiteX0" fmla="*/ 0 w 4769540"/>
              <a:gd name="connsiteY0" fmla="*/ 0 h 3055933"/>
              <a:gd name="connsiteX1" fmla="*/ 4772326 w 4769540"/>
              <a:gd name="connsiteY1" fmla="*/ 0 h 3055933"/>
              <a:gd name="connsiteX2" fmla="*/ 4772326 w 4769540"/>
              <a:gd name="connsiteY2" fmla="*/ 3060008 h 3055933"/>
              <a:gd name="connsiteX3" fmla="*/ 0 w 4769540"/>
              <a:gd name="connsiteY3" fmla="*/ 3060008 h 3055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69540" h="3055933">
                <a:moveTo>
                  <a:pt x="0" y="0"/>
                </a:moveTo>
                <a:lnTo>
                  <a:pt x="4772326" y="0"/>
                </a:lnTo>
                <a:lnTo>
                  <a:pt x="4772326" y="3060008"/>
                </a:lnTo>
                <a:lnTo>
                  <a:pt x="0" y="3060008"/>
                </a:lnTo>
                <a:close/>
              </a:path>
            </a:pathLst>
          </a:custGeom>
          <a:ln/>
        </p:spPr>
      </p:pic>
      <p:grpSp>
        <p:nvGrpSpPr>
          <p:cNvPr id="58" name="Grupo 57"/>
          <p:cNvGrpSpPr/>
          <p:nvPr userDrawn="1"/>
        </p:nvGrpSpPr>
        <p:grpSpPr>
          <a:xfrm>
            <a:off x="0" y="1"/>
            <a:ext cx="729326" cy="976393"/>
            <a:chOff x="0" y="1339"/>
            <a:chExt cx="929014" cy="1134932"/>
          </a:xfrm>
        </p:grpSpPr>
        <p:sp>
          <p:nvSpPr>
            <p:cNvPr id="59" name="Forma Livre: Forma 6311">
              <a:extLst>
                <a:ext uri="{FF2B5EF4-FFF2-40B4-BE49-F238E27FC236}">
                  <a16:creationId xmlns:a16="http://schemas.microsoft.com/office/drawing/2014/main" id="{4A2E10C2-A2B4-40D8-A5B3-1BA876EC8E3A}"/>
                </a:ext>
              </a:extLst>
            </p:cNvPr>
            <p:cNvSpPr/>
            <p:nvPr/>
          </p:nvSpPr>
          <p:spPr>
            <a:xfrm>
              <a:off x="835860" y="983950"/>
              <a:ext cx="19040" cy="152321"/>
            </a:xfrm>
            <a:custGeom>
              <a:avLst/>
              <a:gdLst>
                <a:gd name="connsiteX0" fmla="*/ 23705 w 38080"/>
                <a:gd name="connsiteY0" fmla="*/ 0 h 304641"/>
                <a:gd name="connsiteX1" fmla="*/ 0 w 38080"/>
                <a:gd name="connsiteY1" fmla="*/ 21706 h 304641"/>
                <a:gd name="connsiteX2" fmla="*/ 0 w 38080"/>
                <a:gd name="connsiteY2" fmla="*/ 290552 h 304641"/>
                <a:gd name="connsiteX3" fmla="*/ 23705 w 38080"/>
                <a:gd name="connsiteY3" fmla="*/ 312257 h 304641"/>
                <a:gd name="connsiteX4" fmla="*/ 47410 w 38080"/>
                <a:gd name="connsiteY4" fmla="*/ 290552 h 304641"/>
                <a:gd name="connsiteX5" fmla="*/ 47410 w 38080"/>
                <a:gd name="connsiteY5" fmla="*/ 21706 h 304641"/>
                <a:gd name="connsiteX6" fmla="*/ 23705 w 38080"/>
                <a:gd name="connsiteY6" fmla="*/ 0 h 304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080" h="304641">
                  <a:moveTo>
                    <a:pt x="23705" y="0"/>
                  </a:moveTo>
                  <a:cubicBezTo>
                    <a:pt x="10567" y="0"/>
                    <a:pt x="0" y="9710"/>
                    <a:pt x="0" y="21706"/>
                  </a:cubicBezTo>
                  <a:lnTo>
                    <a:pt x="0" y="290552"/>
                  </a:lnTo>
                  <a:cubicBezTo>
                    <a:pt x="0" y="302547"/>
                    <a:pt x="10662" y="312257"/>
                    <a:pt x="23705" y="312257"/>
                  </a:cubicBezTo>
                  <a:cubicBezTo>
                    <a:pt x="36843" y="312257"/>
                    <a:pt x="47410" y="302547"/>
                    <a:pt x="47410" y="290552"/>
                  </a:cubicBezTo>
                  <a:lnTo>
                    <a:pt x="47410" y="21706"/>
                  </a:lnTo>
                  <a:cubicBezTo>
                    <a:pt x="47410" y="9806"/>
                    <a:pt x="36747" y="0"/>
                    <a:pt x="23705" y="0"/>
                  </a:cubicBezTo>
                  <a:close/>
                </a:path>
              </a:pathLst>
            </a:custGeom>
            <a:solidFill>
              <a:srgbClr val="FF5000"/>
            </a:solidFill>
            <a:ln w="95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pt-BR" sz="900" dirty="0">
                <a:solidFill>
                  <a:srgbClr val="000000"/>
                </a:solidFill>
              </a:endParaRPr>
            </a:p>
          </p:txBody>
        </p:sp>
        <p:sp>
          <p:nvSpPr>
            <p:cNvPr id="60" name="Forma Livre: Forma 6312">
              <a:extLst>
                <a:ext uri="{FF2B5EF4-FFF2-40B4-BE49-F238E27FC236}">
                  <a16:creationId xmlns:a16="http://schemas.microsoft.com/office/drawing/2014/main" id="{425F0157-04AB-4B78-85D9-0DD854B75797}"/>
                </a:ext>
              </a:extLst>
            </p:cNvPr>
            <p:cNvSpPr/>
            <p:nvPr/>
          </p:nvSpPr>
          <p:spPr>
            <a:xfrm>
              <a:off x="762413" y="1051161"/>
              <a:ext cx="166601" cy="19040"/>
            </a:xfrm>
            <a:custGeom>
              <a:avLst/>
              <a:gdLst>
                <a:gd name="connsiteX0" fmla="*/ 317398 w 333201"/>
                <a:gd name="connsiteY0" fmla="*/ 0 h 38080"/>
                <a:gd name="connsiteX1" fmla="*/ 23705 w 333201"/>
                <a:gd name="connsiteY1" fmla="*/ 0 h 38080"/>
                <a:gd name="connsiteX2" fmla="*/ 0 w 333201"/>
                <a:gd name="connsiteY2" fmla="*/ 21706 h 38080"/>
                <a:gd name="connsiteX3" fmla="*/ 23705 w 333201"/>
                <a:gd name="connsiteY3" fmla="*/ 43411 h 38080"/>
                <a:gd name="connsiteX4" fmla="*/ 317398 w 333201"/>
                <a:gd name="connsiteY4" fmla="*/ 43411 h 38080"/>
                <a:gd name="connsiteX5" fmla="*/ 341103 w 333201"/>
                <a:gd name="connsiteY5" fmla="*/ 21706 h 38080"/>
                <a:gd name="connsiteX6" fmla="*/ 317398 w 333201"/>
                <a:gd name="connsiteY6" fmla="*/ 0 h 38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201" h="38080">
                  <a:moveTo>
                    <a:pt x="317398" y="0"/>
                  </a:moveTo>
                  <a:lnTo>
                    <a:pt x="23705" y="0"/>
                  </a:lnTo>
                  <a:cubicBezTo>
                    <a:pt x="10567" y="0"/>
                    <a:pt x="0" y="9710"/>
                    <a:pt x="0" y="21706"/>
                  </a:cubicBezTo>
                  <a:cubicBezTo>
                    <a:pt x="0" y="33701"/>
                    <a:pt x="10662" y="43411"/>
                    <a:pt x="23705" y="43411"/>
                  </a:cubicBezTo>
                  <a:lnTo>
                    <a:pt x="317398" y="43411"/>
                  </a:lnTo>
                  <a:cubicBezTo>
                    <a:pt x="330536" y="43411"/>
                    <a:pt x="341103" y="33701"/>
                    <a:pt x="341103" y="21706"/>
                  </a:cubicBezTo>
                  <a:cubicBezTo>
                    <a:pt x="341103" y="9710"/>
                    <a:pt x="330536" y="0"/>
                    <a:pt x="317398" y="0"/>
                  </a:cubicBezTo>
                  <a:close/>
                </a:path>
              </a:pathLst>
            </a:custGeom>
            <a:solidFill>
              <a:srgbClr val="FF5000"/>
            </a:solidFill>
            <a:ln w="95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pt-BR" sz="900" dirty="0">
                <a:solidFill>
                  <a:srgbClr val="000000"/>
                </a:solidFill>
              </a:endParaRPr>
            </a:p>
          </p:txBody>
        </p:sp>
        <p:pic>
          <p:nvPicPr>
            <p:cNvPr id="61" name="Imagem 60">
              <a:extLst>
                <a:ext uri="{FF2B5EF4-FFF2-40B4-BE49-F238E27FC236}">
                  <a16:creationId xmlns:a16="http://schemas.microsoft.com/office/drawing/2014/main" id="{1A0BC1A6-6F9C-4D66-AFC0-D6C8F3ACD2C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1339"/>
              <a:ext cx="847283" cy="1090046"/>
            </a:xfrm>
            <a:custGeom>
              <a:avLst/>
              <a:gdLst>
                <a:gd name="connsiteX0" fmla="*/ 0 w 1694567"/>
                <a:gd name="connsiteY0" fmla="*/ 0 h 2180089"/>
                <a:gd name="connsiteX1" fmla="*/ 1694964 w 1694567"/>
                <a:gd name="connsiteY1" fmla="*/ 0 h 2180089"/>
                <a:gd name="connsiteX2" fmla="*/ 1694964 w 1694567"/>
                <a:gd name="connsiteY2" fmla="*/ 2189328 h 2180089"/>
                <a:gd name="connsiteX3" fmla="*/ 0 w 1694567"/>
                <a:gd name="connsiteY3" fmla="*/ 2189328 h 2180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94567" h="2180089">
                  <a:moveTo>
                    <a:pt x="0" y="0"/>
                  </a:moveTo>
                  <a:lnTo>
                    <a:pt x="1694964" y="0"/>
                  </a:lnTo>
                  <a:lnTo>
                    <a:pt x="1694964" y="2189328"/>
                  </a:lnTo>
                  <a:lnTo>
                    <a:pt x="0" y="2189328"/>
                  </a:lnTo>
                  <a:close/>
                </a:path>
              </a:pathLst>
            </a:custGeom>
            <a:ln/>
          </p:spPr>
        </p:pic>
      </p:grpSp>
      <p:pic>
        <p:nvPicPr>
          <p:cNvPr id="11" name="Imagem 10"/>
          <p:cNvPicPr>
            <a:picLocks noChangeAspect="1"/>
          </p:cNvPicPr>
          <p:nvPr userDrawn="1"/>
        </p:nvPicPr>
        <p:blipFill rotWithShape="1">
          <a:blip r:embed="rId2"/>
          <a:srcRect l="2518" r="7220"/>
          <a:stretch/>
        </p:blipFill>
        <p:spPr>
          <a:xfrm>
            <a:off x="8952299" y="2288838"/>
            <a:ext cx="3051516" cy="2358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936634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>
            <a:off x="381000" y="6466114"/>
            <a:ext cx="11397343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3"/>
          <p:cNvSpPr>
            <a:spLocks noGrp="1"/>
          </p:cNvSpPr>
          <p:nvPr>
            <p:ph sz="quarter" idx="16"/>
          </p:nvPr>
        </p:nvSpPr>
        <p:spPr>
          <a:xfrm>
            <a:off x="1273215" y="2683240"/>
            <a:ext cx="2293748" cy="312947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8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273215" y="1216205"/>
            <a:ext cx="9634271" cy="599754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>
              <a:lnSpc>
                <a:spcPct val="100000"/>
              </a:lnSpc>
              <a:tabLst>
                <a:tab pos="4217988" algn="l"/>
              </a:tabLst>
              <a:defRPr sz="2400" b="1" i="0" spc="-1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endParaRPr lang="en-US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3721947" y="2683240"/>
            <a:ext cx="2293748" cy="312947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8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8"/>
          </p:nvPr>
        </p:nvSpPr>
        <p:spPr>
          <a:xfrm>
            <a:off x="6170679" y="2683240"/>
            <a:ext cx="2293748" cy="312947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8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9"/>
          </p:nvPr>
        </p:nvSpPr>
        <p:spPr>
          <a:xfrm>
            <a:off x="8598240" y="2683240"/>
            <a:ext cx="2293748" cy="312947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8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1273215" y="1890848"/>
            <a:ext cx="9655536" cy="6699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91886" y="6481989"/>
            <a:ext cx="27432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000" baseline="0">
                <a:solidFill>
                  <a:schemeClr val="accent3"/>
                </a:solidFill>
                <a:latin typeface="Verdana Regular" charset="0"/>
              </a:defRPr>
            </a:lvl1pPr>
          </a:lstStyle>
          <a:p>
            <a:fld id="{B55780C9-1218-2442-B992-B1EF8E30C659}" type="slidenum">
              <a:rPr lang="en-US" smtClean="0">
                <a:solidFill>
                  <a:srgbClr val="DADADA"/>
                </a:solidFill>
              </a:rPr>
              <a:pPr/>
              <a:t>‹Nº›</a:t>
            </a:fld>
            <a:endParaRPr lang="en-US" dirty="0">
              <a:solidFill>
                <a:srgbClr val="DADADA"/>
              </a:solidFill>
            </a:endParaRPr>
          </a:p>
        </p:txBody>
      </p:sp>
      <p:sp>
        <p:nvSpPr>
          <p:cNvPr id="17" name="Footer Placeholder 6"/>
          <p:cNvSpPr>
            <a:spLocks noGrp="1"/>
          </p:cNvSpPr>
          <p:nvPr>
            <p:ph type="ftr" sz="quarter" idx="14"/>
          </p:nvPr>
        </p:nvSpPr>
        <p:spPr>
          <a:xfrm>
            <a:off x="7663543" y="6492875"/>
            <a:ext cx="41148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1000">
                <a:solidFill>
                  <a:schemeClr val="accent3"/>
                </a:solidFill>
              </a:defRPr>
            </a:lvl1pPr>
          </a:lstStyle>
          <a:p>
            <a:endParaRPr lang="en-US" dirty="0">
              <a:solidFill>
                <a:srgbClr val="DADADA"/>
              </a:solidFill>
            </a:endParaRPr>
          </a:p>
        </p:txBody>
      </p:sp>
      <p:sp>
        <p:nvSpPr>
          <p:cNvPr id="20" name="Text Placeholder 2"/>
          <p:cNvSpPr>
            <a:spLocks noGrp="1"/>
          </p:cNvSpPr>
          <p:nvPr>
            <p:ph type="body" idx="1"/>
          </p:nvPr>
        </p:nvSpPr>
        <p:spPr>
          <a:xfrm>
            <a:off x="385535" y="376691"/>
            <a:ext cx="11403694" cy="287337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101123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4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Straight Connector 5"/>
          <p:cNvCxnSpPr/>
          <p:nvPr userDrawn="1"/>
        </p:nvCxnSpPr>
        <p:spPr>
          <a:xfrm>
            <a:off x="381000" y="6466114"/>
            <a:ext cx="11397343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3"/>
          <p:cNvSpPr>
            <a:spLocks noGrp="1"/>
          </p:cNvSpPr>
          <p:nvPr>
            <p:ph sz="quarter" idx="16"/>
          </p:nvPr>
        </p:nvSpPr>
        <p:spPr>
          <a:xfrm>
            <a:off x="1273215" y="2852968"/>
            <a:ext cx="2293748" cy="312947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800">
                <a:solidFill>
                  <a:schemeClr val="accent5"/>
                </a:solidFill>
              </a:defRPr>
            </a:lvl1pPr>
            <a:lvl2pPr marL="457200" indent="0">
              <a:buFontTx/>
              <a:buNone/>
              <a:defRPr sz="800">
                <a:solidFill>
                  <a:schemeClr val="accent5"/>
                </a:solidFill>
              </a:defRPr>
            </a:lvl2pPr>
            <a:lvl3pPr marL="914400" indent="0">
              <a:buFontTx/>
              <a:buNone/>
              <a:defRPr sz="800">
                <a:solidFill>
                  <a:schemeClr val="accent5"/>
                </a:solidFill>
              </a:defRPr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7"/>
          </p:nvPr>
        </p:nvSpPr>
        <p:spPr>
          <a:xfrm>
            <a:off x="3721947" y="2852968"/>
            <a:ext cx="2293748" cy="312947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800">
                <a:solidFill>
                  <a:schemeClr val="accent5"/>
                </a:solidFill>
              </a:defRPr>
            </a:lvl1pPr>
            <a:lvl2pPr marL="457200" indent="0">
              <a:buFontTx/>
              <a:buNone/>
              <a:defRPr sz="800">
                <a:solidFill>
                  <a:schemeClr val="accent5"/>
                </a:solidFill>
              </a:defRPr>
            </a:lvl2pPr>
            <a:lvl3pPr marL="914400" indent="0">
              <a:buFontTx/>
              <a:buNone/>
              <a:defRPr sz="800">
                <a:solidFill>
                  <a:schemeClr val="accent5"/>
                </a:solidFill>
              </a:defRPr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7" name="Content Placeholder 3"/>
          <p:cNvSpPr>
            <a:spLocks noGrp="1"/>
          </p:cNvSpPr>
          <p:nvPr>
            <p:ph sz="quarter" idx="18"/>
          </p:nvPr>
        </p:nvSpPr>
        <p:spPr>
          <a:xfrm>
            <a:off x="6170679" y="2852968"/>
            <a:ext cx="2293748" cy="312947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800">
                <a:solidFill>
                  <a:schemeClr val="accent5"/>
                </a:solidFill>
              </a:defRPr>
            </a:lvl1pPr>
            <a:lvl2pPr marL="457200" indent="0">
              <a:buFontTx/>
              <a:buNone/>
              <a:defRPr sz="800">
                <a:solidFill>
                  <a:schemeClr val="accent5"/>
                </a:solidFill>
              </a:defRPr>
            </a:lvl2pPr>
            <a:lvl3pPr marL="914400" indent="0">
              <a:buFontTx/>
              <a:buNone/>
              <a:defRPr sz="800">
                <a:solidFill>
                  <a:schemeClr val="accent5"/>
                </a:solidFill>
              </a:defRPr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19"/>
          </p:nvPr>
        </p:nvSpPr>
        <p:spPr>
          <a:xfrm>
            <a:off x="8598240" y="2852968"/>
            <a:ext cx="2293748" cy="312947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800">
                <a:solidFill>
                  <a:schemeClr val="accent5"/>
                </a:solidFill>
              </a:defRPr>
            </a:lvl1pPr>
            <a:lvl2pPr marL="457200" indent="0">
              <a:buFontTx/>
              <a:buNone/>
              <a:defRPr sz="800">
                <a:solidFill>
                  <a:schemeClr val="accent5"/>
                </a:solidFill>
              </a:defRPr>
            </a:lvl2pPr>
            <a:lvl3pPr marL="914400" indent="0">
              <a:buFontTx/>
              <a:buNone/>
              <a:defRPr sz="800">
                <a:solidFill>
                  <a:schemeClr val="accent5"/>
                </a:solidFill>
              </a:defRPr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Content Placeholder 3"/>
          <p:cNvSpPr>
            <a:spLocks noGrp="1"/>
          </p:cNvSpPr>
          <p:nvPr>
            <p:ph sz="quarter" idx="24"/>
          </p:nvPr>
        </p:nvSpPr>
        <p:spPr>
          <a:xfrm>
            <a:off x="1273215" y="1147701"/>
            <a:ext cx="2293748" cy="153108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800">
                <a:solidFill>
                  <a:schemeClr val="accent5"/>
                </a:solidFill>
              </a:defRPr>
            </a:lvl1pPr>
            <a:lvl2pPr marL="457200" indent="0">
              <a:buFontTx/>
              <a:buNone/>
              <a:defRPr sz="800">
                <a:solidFill>
                  <a:schemeClr val="accent5"/>
                </a:solidFill>
              </a:defRPr>
            </a:lvl2pPr>
            <a:lvl3pPr marL="914400" indent="0">
              <a:buFontTx/>
              <a:buNone/>
              <a:defRPr sz="800">
                <a:solidFill>
                  <a:schemeClr val="accent5"/>
                </a:solidFill>
              </a:defRPr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8" name="Content Placeholder 3"/>
          <p:cNvSpPr>
            <a:spLocks noGrp="1"/>
          </p:cNvSpPr>
          <p:nvPr>
            <p:ph sz="quarter" idx="25"/>
          </p:nvPr>
        </p:nvSpPr>
        <p:spPr>
          <a:xfrm>
            <a:off x="3721947" y="1147701"/>
            <a:ext cx="2293748" cy="153108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800">
                <a:solidFill>
                  <a:schemeClr val="accent5"/>
                </a:solidFill>
              </a:defRPr>
            </a:lvl1pPr>
            <a:lvl2pPr marL="457200" indent="0">
              <a:buFontTx/>
              <a:buNone/>
              <a:defRPr sz="800">
                <a:solidFill>
                  <a:schemeClr val="accent5"/>
                </a:solidFill>
              </a:defRPr>
            </a:lvl2pPr>
            <a:lvl3pPr marL="914400" indent="0">
              <a:buFontTx/>
              <a:buNone/>
              <a:defRPr sz="800">
                <a:solidFill>
                  <a:schemeClr val="accent5"/>
                </a:solidFill>
              </a:defRPr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Content Placeholder 3"/>
          <p:cNvSpPr>
            <a:spLocks noGrp="1"/>
          </p:cNvSpPr>
          <p:nvPr>
            <p:ph sz="quarter" idx="26"/>
          </p:nvPr>
        </p:nvSpPr>
        <p:spPr>
          <a:xfrm>
            <a:off x="6170679" y="1147701"/>
            <a:ext cx="2293748" cy="153108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800">
                <a:solidFill>
                  <a:schemeClr val="accent5"/>
                </a:solidFill>
              </a:defRPr>
            </a:lvl1pPr>
            <a:lvl2pPr marL="457200" indent="0">
              <a:buFontTx/>
              <a:buNone/>
              <a:defRPr sz="800">
                <a:solidFill>
                  <a:schemeClr val="accent5"/>
                </a:solidFill>
              </a:defRPr>
            </a:lvl2pPr>
            <a:lvl3pPr marL="914400" indent="0">
              <a:buFontTx/>
              <a:buNone/>
              <a:defRPr sz="800">
                <a:solidFill>
                  <a:schemeClr val="accent5"/>
                </a:solidFill>
              </a:defRPr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0" name="Content Placeholder 3"/>
          <p:cNvSpPr>
            <a:spLocks noGrp="1"/>
          </p:cNvSpPr>
          <p:nvPr>
            <p:ph sz="quarter" idx="27"/>
          </p:nvPr>
        </p:nvSpPr>
        <p:spPr>
          <a:xfrm>
            <a:off x="8598240" y="1147701"/>
            <a:ext cx="2293748" cy="153108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800">
                <a:solidFill>
                  <a:schemeClr val="accent5"/>
                </a:solidFill>
              </a:defRPr>
            </a:lvl1pPr>
            <a:lvl2pPr marL="457200" indent="0">
              <a:buFontTx/>
              <a:buNone/>
              <a:defRPr sz="800">
                <a:solidFill>
                  <a:schemeClr val="accent5"/>
                </a:solidFill>
              </a:defRPr>
            </a:lvl2pPr>
            <a:lvl3pPr marL="914400" indent="0">
              <a:buFontTx/>
              <a:buNone/>
              <a:defRPr sz="800">
                <a:solidFill>
                  <a:schemeClr val="accent5"/>
                </a:solidFill>
              </a:defRPr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91886" y="6481989"/>
            <a:ext cx="27432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000" baseline="0">
                <a:solidFill>
                  <a:schemeClr val="accent5">
                    <a:lumMod val="60000"/>
                    <a:lumOff val="40000"/>
                  </a:schemeClr>
                </a:solidFill>
                <a:latin typeface="Verdana Regular" charset="0"/>
              </a:defRPr>
            </a:lvl1pPr>
          </a:lstStyle>
          <a:p>
            <a:fld id="{B55780C9-1218-2442-B992-B1EF8E30C659}" type="slidenum">
              <a:rPr lang="en-US" smtClean="0">
                <a:solidFill>
                  <a:srgbClr val="3B3B3B">
                    <a:lumMod val="60000"/>
                    <a:lumOff val="40000"/>
                  </a:srgbClr>
                </a:solidFill>
              </a:rPr>
              <a:pPr/>
              <a:t>‹Nº›</a:t>
            </a:fld>
            <a:endParaRPr lang="en-US" dirty="0">
              <a:solidFill>
                <a:srgbClr val="3B3B3B">
                  <a:lumMod val="60000"/>
                  <a:lumOff val="40000"/>
                </a:srgbClr>
              </a:solidFill>
            </a:endParaRPr>
          </a:p>
        </p:txBody>
      </p:sp>
      <p:sp>
        <p:nvSpPr>
          <p:cNvPr id="33" name="Footer Placeholder 6"/>
          <p:cNvSpPr>
            <a:spLocks noGrp="1"/>
          </p:cNvSpPr>
          <p:nvPr>
            <p:ph type="ftr" sz="quarter" idx="14"/>
          </p:nvPr>
        </p:nvSpPr>
        <p:spPr>
          <a:xfrm>
            <a:off x="7663543" y="6492875"/>
            <a:ext cx="41148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100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 dirty="0">
              <a:solidFill>
                <a:srgbClr val="3B3B3B">
                  <a:lumMod val="60000"/>
                  <a:lumOff val="40000"/>
                </a:srgbClr>
              </a:solidFill>
            </a:endParaRPr>
          </a:p>
        </p:txBody>
      </p:sp>
      <p:sp>
        <p:nvSpPr>
          <p:cNvPr id="34" name="Text Placeholder 2"/>
          <p:cNvSpPr>
            <a:spLocks noGrp="1"/>
          </p:cNvSpPr>
          <p:nvPr>
            <p:ph type="body" idx="1"/>
          </p:nvPr>
        </p:nvSpPr>
        <p:spPr>
          <a:xfrm>
            <a:off x="385535" y="376691"/>
            <a:ext cx="11403694" cy="287337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400" b="1">
                <a:solidFill>
                  <a:schemeClr val="accent5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2130849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>
            <a:off x="381000" y="6466114"/>
            <a:ext cx="11397343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385535" y="376691"/>
            <a:ext cx="11403694" cy="287337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6"/>
          </p:nvPr>
        </p:nvSpPr>
        <p:spPr>
          <a:xfrm>
            <a:off x="1273215" y="2852968"/>
            <a:ext cx="2293748" cy="312947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8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7"/>
          </p:nvPr>
        </p:nvSpPr>
        <p:spPr>
          <a:xfrm>
            <a:off x="3721947" y="2852968"/>
            <a:ext cx="2293748" cy="312947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8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7" name="Content Placeholder 3"/>
          <p:cNvSpPr>
            <a:spLocks noGrp="1"/>
          </p:cNvSpPr>
          <p:nvPr>
            <p:ph sz="quarter" idx="18"/>
          </p:nvPr>
        </p:nvSpPr>
        <p:spPr>
          <a:xfrm>
            <a:off x="6170679" y="2852968"/>
            <a:ext cx="2293748" cy="312947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8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19"/>
          </p:nvPr>
        </p:nvSpPr>
        <p:spPr>
          <a:xfrm>
            <a:off x="8598240" y="2852968"/>
            <a:ext cx="2293748" cy="312947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8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Content Placeholder 3"/>
          <p:cNvSpPr>
            <a:spLocks noGrp="1"/>
          </p:cNvSpPr>
          <p:nvPr>
            <p:ph sz="quarter" idx="24"/>
          </p:nvPr>
        </p:nvSpPr>
        <p:spPr>
          <a:xfrm>
            <a:off x="1273215" y="1147701"/>
            <a:ext cx="2293748" cy="153108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8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8" name="Content Placeholder 3"/>
          <p:cNvSpPr>
            <a:spLocks noGrp="1"/>
          </p:cNvSpPr>
          <p:nvPr>
            <p:ph sz="quarter" idx="25"/>
          </p:nvPr>
        </p:nvSpPr>
        <p:spPr>
          <a:xfrm>
            <a:off x="3721947" y="1147701"/>
            <a:ext cx="2293748" cy="153108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8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Content Placeholder 3"/>
          <p:cNvSpPr>
            <a:spLocks noGrp="1"/>
          </p:cNvSpPr>
          <p:nvPr>
            <p:ph sz="quarter" idx="26"/>
          </p:nvPr>
        </p:nvSpPr>
        <p:spPr>
          <a:xfrm>
            <a:off x="6170679" y="1147701"/>
            <a:ext cx="2293748" cy="153108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8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0" name="Content Placeholder 3"/>
          <p:cNvSpPr>
            <a:spLocks noGrp="1"/>
          </p:cNvSpPr>
          <p:nvPr>
            <p:ph sz="quarter" idx="27"/>
          </p:nvPr>
        </p:nvSpPr>
        <p:spPr>
          <a:xfrm>
            <a:off x="8598240" y="1147701"/>
            <a:ext cx="2293748" cy="153108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8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91886" y="6481989"/>
            <a:ext cx="27432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000" baseline="0">
                <a:solidFill>
                  <a:schemeClr val="accent3"/>
                </a:solidFill>
                <a:latin typeface="Verdana Regular" charset="0"/>
              </a:defRPr>
            </a:lvl1pPr>
          </a:lstStyle>
          <a:p>
            <a:fld id="{B55780C9-1218-2442-B992-B1EF8E30C659}" type="slidenum">
              <a:rPr lang="en-US" smtClean="0">
                <a:solidFill>
                  <a:srgbClr val="DADADA"/>
                </a:solidFill>
              </a:rPr>
              <a:pPr/>
              <a:t>‹Nº›</a:t>
            </a:fld>
            <a:endParaRPr lang="en-US" dirty="0">
              <a:solidFill>
                <a:srgbClr val="DADADA"/>
              </a:solidFill>
            </a:endParaRPr>
          </a:p>
        </p:txBody>
      </p:sp>
      <p:sp>
        <p:nvSpPr>
          <p:cNvPr id="19" name="Footer Placeholder 6"/>
          <p:cNvSpPr>
            <a:spLocks noGrp="1"/>
          </p:cNvSpPr>
          <p:nvPr>
            <p:ph type="ftr" sz="quarter" idx="14"/>
          </p:nvPr>
        </p:nvSpPr>
        <p:spPr>
          <a:xfrm>
            <a:off x="7663543" y="6492875"/>
            <a:ext cx="41148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1000">
                <a:solidFill>
                  <a:schemeClr val="accent3"/>
                </a:solidFill>
              </a:defRPr>
            </a:lvl1pPr>
          </a:lstStyle>
          <a:p>
            <a:endParaRPr lang="en-US" dirty="0">
              <a:solidFill>
                <a:srgbClr val="DADAD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928853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91886" y="376238"/>
            <a:ext cx="11386457" cy="6089650"/>
          </a:xfrm>
          <a:prstGeom prst="rect">
            <a:avLst/>
          </a:prstGeom>
        </p:spPr>
        <p:txBody>
          <a:bodyPr/>
          <a:lstStyle>
            <a:lvl1pPr algn="r">
              <a:defRPr sz="1400"/>
            </a:lvl1pPr>
          </a:lstStyle>
          <a:p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91886" y="6481989"/>
            <a:ext cx="27432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000" baseline="0">
                <a:solidFill>
                  <a:schemeClr val="accent5">
                    <a:lumMod val="60000"/>
                    <a:lumOff val="40000"/>
                  </a:schemeClr>
                </a:solidFill>
                <a:latin typeface="Verdana Regular" charset="0"/>
              </a:defRPr>
            </a:lvl1pPr>
          </a:lstStyle>
          <a:p>
            <a:fld id="{B55780C9-1218-2442-B992-B1EF8E30C659}" type="slidenum">
              <a:rPr lang="en-US" smtClean="0">
                <a:solidFill>
                  <a:srgbClr val="3B3B3B">
                    <a:lumMod val="60000"/>
                    <a:lumOff val="40000"/>
                  </a:srgbClr>
                </a:solidFill>
              </a:rPr>
              <a:pPr/>
              <a:t>‹Nº›</a:t>
            </a:fld>
            <a:endParaRPr lang="en-US" dirty="0">
              <a:solidFill>
                <a:srgbClr val="3B3B3B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2" name="Footer Placeholder 6"/>
          <p:cNvSpPr>
            <a:spLocks noGrp="1"/>
          </p:cNvSpPr>
          <p:nvPr>
            <p:ph type="ftr" sz="quarter" idx="14"/>
          </p:nvPr>
        </p:nvSpPr>
        <p:spPr>
          <a:xfrm>
            <a:off x="7663543" y="6492875"/>
            <a:ext cx="41148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100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 dirty="0">
              <a:solidFill>
                <a:srgbClr val="3B3B3B">
                  <a:lumMod val="60000"/>
                  <a:lumOff val="40000"/>
                </a:srgbClr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-286327" y="-8128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5116266" y="2834835"/>
            <a:ext cx="5780334" cy="117245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r">
              <a:lnSpc>
                <a:spcPct val="100000"/>
              </a:lnSpc>
              <a:spcBef>
                <a:spcPts val="500"/>
              </a:spcBef>
              <a:tabLst>
                <a:tab pos="4217988" algn="l"/>
              </a:tabLst>
              <a:defRPr sz="3600" b="1" i="0" spc="-100" baseline="0">
                <a:solidFill>
                  <a:schemeClr val="accent5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endParaRPr lang="en-US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idx="17"/>
          </p:nvPr>
        </p:nvSpPr>
        <p:spPr>
          <a:xfrm>
            <a:off x="5116354" y="4071222"/>
            <a:ext cx="5770833" cy="35265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 algn="r">
              <a:buNone/>
              <a:defRPr sz="1600">
                <a:solidFill>
                  <a:schemeClr val="accent5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1" name="Straight Connector 5"/>
          <p:cNvCxnSpPr/>
          <p:nvPr userDrawn="1"/>
        </p:nvCxnSpPr>
        <p:spPr>
          <a:xfrm>
            <a:off x="381000" y="6466114"/>
            <a:ext cx="11397343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7251595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8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135086" y="376238"/>
            <a:ext cx="8643257" cy="6089650"/>
          </a:xfrm>
          <a:prstGeom prst="rect">
            <a:avLst/>
          </a:prstGeom>
        </p:spPr>
        <p:txBody>
          <a:bodyPr/>
          <a:lstStyle>
            <a:lvl1pPr algn="r">
              <a:defRPr sz="1400"/>
            </a:lvl1pPr>
          </a:lstStyle>
          <a:p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91886" y="6481989"/>
            <a:ext cx="27432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000" baseline="0">
                <a:solidFill>
                  <a:schemeClr val="accent5">
                    <a:lumMod val="60000"/>
                    <a:lumOff val="40000"/>
                  </a:schemeClr>
                </a:solidFill>
                <a:latin typeface="Verdana Regular" charset="0"/>
              </a:defRPr>
            </a:lvl1pPr>
          </a:lstStyle>
          <a:p>
            <a:fld id="{B55780C9-1218-2442-B992-B1EF8E30C659}" type="slidenum">
              <a:rPr lang="en-US" smtClean="0">
                <a:solidFill>
                  <a:srgbClr val="3B3B3B">
                    <a:lumMod val="60000"/>
                    <a:lumOff val="40000"/>
                  </a:srgbClr>
                </a:solidFill>
              </a:rPr>
              <a:pPr/>
              <a:t>‹Nº›</a:t>
            </a:fld>
            <a:endParaRPr lang="en-US" dirty="0">
              <a:solidFill>
                <a:srgbClr val="3B3B3B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2" name="Footer Placeholder 6"/>
          <p:cNvSpPr>
            <a:spLocks noGrp="1"/>
          </p:cNvSpPr>
          <p:nvPr>
            <p:ph type="ftr" sz="quarter" idx="14"/>
          </p:nvPr>
        </p:nvSpPr>
        <p:spPr>
          <a:xfrm>
            <a:off x="7663543" y="6492875"/>
            <a:ext cx="41148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100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 dirty="0">
              <a:solidFill>
                <a:srgbClr val="3B3B3B">
                  <a:lumMod val="60000"/>
                  <a:lumOff val="40000"/>
                </a:srgbClr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-286327" y="-8128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017818" y="2834835"/>
            <a:ext cx="6878782" cy="117245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r">
              <a:lnSpc>
                <a:spcPct val="100000"/>
              </a:lnSpc>
              <a:spcBef>
                <a:spcPts val="500"/>
              </a:spcBef>
              <a:tabLst>
                <a:tab pos="4217988" algn="l"/>
              </a:tabLst>
              <a:defRPr sz="3600" b="1" i="0" spc="-100" baseline="0">
                <a:solidFill>
                  <a:schemeClr val="accent5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7"/>
          </p:nvPr>
        </p:nvSpPr>
        <p:spPr>
          <a:xfrm>
            <a:off x="4019712" y="4071222"/>
            <a:ext cx="6867476" cy="35265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 algn="r">
              <a:buNone/>
              <a:defRPr sz="1600">
                <a:solidFill>
                  <a:schemeClr val="accent5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5"/>
          <p:cNvCxnSpPr/>
          <p:nvPr userDrawn="1"/>
        </p:nvCxnSpPr>
        <p:spPr>
          <a:xfrm>
            <a:off x="381000" y="6466114"/>
            <a:ext cx="11397343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6653496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2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91886" y="376238"/>
            <a:ext cx="11386457" cy="6089650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Rectangle 3"/>
          <p:cNvSpPr/>
          <p:nvPr userDrawn="1"/>
        </p:nvSpPr>
        <p:spPr>
          <a:xfrm>
            <a:off x="391887" y="376691"/>
            <a:ext cx="2743200" cy="6089423"/>
          </a:xfrm>
          <a:prstGeom prst="rect">
            <a:avLst/>
          </a:prstGeom>
          <a:solidFill>
            <a:schemeClr val="accent5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91886" y="6481989"/>
            <a:ext cx="27432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000" baseline="0">
                <a:solidFill>
                  <a:schemeClr val="accent5">
                    <a:lumMod val="60000"/>
                    <a:lumOff val="40000"/>
                  </a:schemeClr>
                </a:solidFill>
                <a:latin typeface="Verdana Regular" charset="0"/>
              </a:defRPr>
            </a:lvl1pPr>
          </a:lstStyle>
          <a:p>
            <a:fld id="{B55780C9-1218-2442-B992-B1EF8E30C659}" type="slidenum">
              <a:rPr lang="en-US" smtClean="0">
                <a:solidFill>
                  <a:srgbClr val="3B3B3B">
                    <a:lumMod val="60000"/>
                    <a:lumOff val="40000"/>
                  </a:srgbClr>
                </a:solidFill>
              </a:rPr>
              <a:pPr/>
              <a:t>‹Nº›</a:t>
            </a:fld>
            <a:endParaRPr lang="en-US" dirty="0">
              <a:solidFill>
                <a:srgbClr val="3B3B3B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2" name="Footer Placeholder 6"/>
          <p:cNvSpPr>
            <a:spLocks noGrp="1"/>
          </p:cNvSpPr>
          <p:nvPr>
            <p:ph type="ftr" sz="quarter" idx="14"/>
          </p:nvPr>
        </p:nvSpPr>
        <p:spPr>
          <a:xfrm>
            <a:off x="7663543" y="6492875"/>
            <a:ext cx="41148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100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 dirty="0">
              <a:solidFill>
                <a:srgbClr val="3B3B3B">
                  <a:lumMod val="60000"/>
                  <a:lumOff val="40000"/>
                </a:srgbClr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-286327" y="-8128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017818" y="2834835"/>
            <a:ext cx="6878782" cy="117245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r">
              <a:lnSpc>
                <a:spcPct val="100000"/>
              </a:lnSpc>
              <a:spcBef>
                <a:spcPts val="500"/>
              </a:spcBef>
              <a:tabLst>
                <a:tab pos="4217988" algn="l"/>
              </a:tabLst>
              <a:defRPr sz="3600" b="1" i="0" spc="-1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/>
          </p:nvPr>
        </p:nvSpPr>
        <p:spPr>
          <a:xfrm>
            <a:off x="4019712" y="4071222"/>
            <a:ext cx="6867476" cy="35265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4" name="Straight Connector 5"/>
          <p:cNvCxnSpPr/>
          <p:nvPr userDrawn="1"/>
        </p:nvCxnSpPr>
        <p:spPr>
          <a:xfrm>
            <a:off x="381000" y="6466114"/>
            <a:ext cx="11397343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04185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391886" y="376691"/>
            <a:ext cx="11386457" cy="608942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391886" y="376691"/>
            <a:ext cx="3684815" cy="608942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91886" y="6481989"/>
            <a:ext cx="27432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000" baseline="0">
                <a:solidFill>
                  <a:schemeClr val="accent5">
                    <a:lumMod val="60000"/>
                    <a:lumOff val="40000"/>
                  </a:schemeClr>
                </a:solidFill>
                <a:latin typeface="Verdana Regular" charset="0"/>
              </a:defRPr>
            </a:lvl1pPr>
          </a:lstStyle>
          <a:p>
            <a:fld id="{B55780C9-1218-2442-B992-B1EF8E30C659}" type="slidenum">
              <a:rPr lang="en-US" smtClean="0">
                <a:solidFill>
                  <a:srgbClr val="3B3B3B">
                    <a:lumMod val="60000"/>
                    <a:lumOff val="40000"/>
                  </a:srgbClr>
                </a:solidFill>
              </a:rPr>
              <a:pPr/>
              <a:t>‹Nº›</a:t>
            </a:fld>
            <a:endParaRPr lang="en-US" dirty="0">
              <a:solidFill>
                <a:srgbClr val="3B3B3B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2" name="Footer Placeholder 6"/>
          <p:cNvSpPr>
            <a:spLocks noGrp="1"/>
          </p:cNvSpPr>
          <p:nvPr>
            <p:ph type="ftr" sz="quarter" idx="14"/>
          </p:nvPr>
        </p:nvSpPr>
        <p:spPr>
          <a:xfrm>
            <a:off x="7663543" y="6492875"/>
            <a:ext cx="41148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100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 dirty="0">
              <a:solidFill>
                <a:srgbClr val="3B3B3B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6" name="Text Placeholder 2"/>
          <p:cNvSpPr>
            <a:spLocks noGrp="1"/>
          </p:cNvSpPr>
          <p:nvPr>
            <p:ph type="body" idx="16"/>
          </p:nvPr>
        </p:nvSpPr>
        <p:spPr>
          <a:xfrm>
            <a:off x="4270661" y="579891"/>
            <a:ext cx="7274793" cy="4445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sz="quarter" idx="18"/>
          </p:nvPr>
        </p:nvSpPr>
        <p:spPr>
          <a:xfrm>
            <a:off x="4270375" y="1226445"/>
            <a:ext cx="7275078" cy="4983162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1"/>
          </p:nvPr>
        </p:nvSpPr>
        <p:spPr>
          <a:xfrm>
            <a:off x="631535" y="579891"/>
            <a:ext cx="3254666" cy="4445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9"/>
          </p:nvPr>
        </p:nvSpPr>
        <p:spPr>
          <a:xfrm>
            <a:off x="631535" y="1226445"/>
            <a:ext cx="3254666" cy="4983162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3" name="Straight Connector 5"/>
          <p:cNvCxnSpPr/>
          <p:nvPr userDrawn="1"/>
        </p:nvCxnSpPr>
        <p:spPr>
          <a:xfrm>
            <a:off x="381000" y="6466114"/>
            <a:ext cx="11397343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34341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6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>
          <a:xfrm>
            <a:off x="391886" y="376691"/>
            <a:ext cx="11386457" cy="60894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391886" y="376691"/>
            <a:ext cx="3684815" cy="6089423"/>
          </a:xfrm>
          <a:prstGeom prst="rect">
            <a:avLst/>
          </a:prstGeom>
          <a:solidFill>
            <a:schemeClr val="accent6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Text Placeholder 2"/>
          <p:cNvSpPr>
            <a:spLocks noGrp="1"/>
          </p:cNvSpPr>
          <p:nvPr>
            <p:ph type="body" idx="1"/>
          </p:nvPr>
        </p:nvSpPr>
        <p:spPr>
          <a:xfrm>
            <a:off x="631535" y="579891"/>
            <a:ext cx="3254666" cy="4445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91886" y="6481989"/>
            <a:ext cx="27432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000" baseline="0">
                <a:solidFill>
                  <a:schemeClr val="accent5">
                    <a:lumMod val="60000"/>
                    <a:lumOff val="40000"/>
                  </a:schemeClr>
                </a:solidFill>
                <a:latin typeface="Verdana Regular" charset="0"/>
              </a:defRPr>
            </a:lvl1pPr>
          </a:lstStyle>
          <a:p>
            <a:fld id="{B55780C9-1218-2442-B992-B1EF8E30C659}" type="slidenum">
              <a:rPr lang="en-US" smtClean="0">
                <a:solidFill>
                  <a:srgbClr val="3B3B3B">
                    <a:lumMod val="60000"/>
                    <a:lumOff val="40000"/>
                  </a:srgbClr>
                </a:solidFill>
              </a:rPr>
              <a:pPr/>
              <a:t>‹Nº›</a:t>
            </a:fld>
            <a:endParaRPr lang="en-US" dirty="0">
              <a:solidFill>
                <a:srgbClr val="3B3B3B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2" name="Footer Placeholder 6"/>
          <p:cNvSpPr>
            <a:spLocks noGrp="1"/>
          </p:cNvSpPr>
          <p:nvPr>
            <p:ph type="ftr" sz="quarter" idx="14"/>
          </p:nvPr>
        </p:nvSpPr>
        <p:spPr>
          <a:xfrm>
            <a:off x="7663543" y="6492875"/>
            <a:ext cx="41148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100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 dirty="0">
              <a:solidFill>
                <a:srgbClr val="3B3B3B">
                  <a:lumMod val="60000"/>
                  <a:lumOff val="40000"/>
                </a:srgbClr>
              </a:solidFill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ph type="body" idx="16"/>
          </p:nvPr>
        </p:nvSpPr>
        <p:spPr>
          <a:xfrm>
            <a:off x="4270661" y="579891"/>
            <a:ext cx="7274793" cy="4445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400" b="1">
                <a:solidFill>
                  <a:schemeClr val="accent5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sz="quarter" idx="18"/>
          </p:nvPr>
        </p:nvSpPr>
        <p:spPr>
          <a:xfrm>
            <a:off x="4270375" y="1226445"/>
            <a:ext cx="7275078" cy="4983162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accent5"/>
                </a:solidFill>
              </a:defRPr>
            </a:lvl1pPr>
            <a:lvl2pPr>
              <a:defRPr sz="1100">
                <a:solidFill>
                  <a:schemeClr val="accent5"/>
                </a:solidFill>
              </a:defRPr>
            </a:lvl2pPr>
            <a:lvl3pPr>
              <a:defRPr sz="1100">
                <a:solidFill>
                  <a:schemeClr val="accent5"/>
                </a:solidFill>
              </a:defRPr>
            </a:lvl3pPr>
            <a:lvl4pPr>
              <a:defRPr sz="1100">
                <a:solidFill>
                  <a:schemeClr val="accent5"/>
                </a:solidFill>
              </a:defRPr>
            </a:lvl4pPr>
            <a:lvl5pPr>
              <a:defRPr sz="11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9"/>
          </p:nvPr>
        </p:nvSpPr>
        <p:spPr>
          <a:xfrm>
            <a:off x="631535" y="1226445"/>
            <a:ext cx="3254666" cy="4983162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3" name="Straight Connector 5"/>
          <p:cNvCxnSpPr/>
          <p:nvPr userDrawn="1"/>
        </p:nvCxnSpPr>
        <p:spPr>
          <a:xfrm>
            <a:off x="381000" y="6466114"/>
            <a:ext cx="11397343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5229885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391886" y="391886"/>
            <a:ext cx="11385777" cy="6058354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endParaRPr lang="en-US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381000" y="6466114"/>
            <a:ext cx="11397343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91886" y="6481989"/>
            <a:ext cx="27432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000" baseline="0">
                <a:solidFill>
                  <a:schemeClr val="accent5">
                    <a:lumMod val="60000"/>
                    <a:lumOff val="40000"/>
                  </a:schemeClr>
                </a:solidFill>
                <a:latin typeface="Verdana Regular" charset="0"/>
              </a:defRPr>
            </a:lvl1pPr>
          </a:lstStyle>
          <a:p>
            <a:fld id="{B55780C9-1218-2442-B992-B1EF8E30C659}" type="slidenum">
              <a:rPr lang="en-US" smtClean="0">
                <a:solidFill>
                  <a:srgbClr val="3B3B3B">
                    <a:lumMod val="60000"/>
                    <a:lumOff val="40000"/>
                  </a:srgbClr>
                </a:solidFill>
              </a:rPr>
              <a:pPr/>
              <a:t>‹Nº›</a:t>
            </a:fld>
            <a:endParaRPr lang="en-US" dirty="0">
              <a:solidFill>
                <a:srgbClr val="3B3B3B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3" name="Footer Placeholder 6"/>
          <p:cNvSpPr>
            <a:spLocks noGrp="1"/>
          </p:cNvSpPr>
          <p:nvPr>
            <p:ph type="ftr" sz="quarter" idx="14"/>
          </p:nvPr>
        </p:nvSpPr>
        <p:spPr>
          <a:xfrm>
            <a:off x="7663543" y="6492875"/>
            <a:ext cx="41148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100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 dirty="0">
              <a:solidFill>
                <a:srgbClr val="3B3B3B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45318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Section Header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0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391886" y="391886"/>
            <a:ext cx="11385777" cy="6058354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endParaRPr lang="en-US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381000" y="6466114"/>
            <a:ext cx="11397343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91886" y="6481989"/>
            <a:ext cx="27432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000" baseline="0">
                <a:solidFill>
                  <a:schemeClr val="accent5">
                    <a:lumMod val="60000"/>
                    <a:lumOff val="40000"/>
                  </a:schemeClr>
                </a:solidFill>
                <a:latin typeface="Verdana Regular" charset="0"/>
              </a:defRPr>
            </a:lvl1pPr>
          </a:lstStyle>
          <a:p>
            <a:fld id="{B55780C9-1218-2442-B992-B1EF8E30C659}" type="slidenum">
              <a:rPr lang="en-US" smtClean="0">
                <a:solidFill>
                  <a:srgbClr val="3B3B3B">
                    <a:lumMod val="60000"/>
                    <a:lumOff val="40000"/>
                  </a:srgbClr>
                </a:solidFill>
              </a:rPr>
              <a:pPr/>
              <a:t>‹Nº›</a:t>
            </a:fld>
            <a:endParaRPr lang="en-US" dirty="0">
              <a:solidFill>
                <a:srgbClr val="3B3B3B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3" name="Footer Placeholder 6"/>
          <p:cNvSpPr>
            <a:spLocks noGrp="1"/>
          </p:cNvSpPr>
          <p:nvPr>
            <p:ph type="ftr" sz="quarter" idx="14"/>
          </p:nvPr>
        </p:nvSpPr>
        <p:spPr>
          <a:xfrm>
            <a:off x="7663543" y="6492875"/>
            <a:ext cx="41148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100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 dirty="0">
              <a:solidFill>
                <a:srgbClr val="3B3B3B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98382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Slide do think-cell" r:id="rId5" imgW="386" imgH="386" progId="TCLayout.ActiveDocument.1">
                  <p:embed/>
                </p:oleObj>
              </mc:Choice>
              <mc:Fallback>
                <p:oleObj name="Slide do think-cell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C6D4636-11AB-466C-B46A-3E11EA656B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04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C1F78CD-9BE4-4B83-8E6D-D0DE69C248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1112"/>
          <a:stretch/>
        </p:blipFill>
        <p:spPr>
          <a:xfrm flipH="1">
            <a:off x="-1" y="1"/>
            <a:ext cx="12192000" cy="6858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735F3FE3-EA8F-4185-85D5-3AE8395E91BC}"/>
              </a:ext>
            </a:extLst>
          </p:cNvPr>
          <p:cNvSpPr/>
          <p:nvPr userDrawn="1"/>
        </p:nvSpPr>
        <p:spPr>
          <a:xfrm>
            <a:off x="1" y="1"/>
            <a:ext cx="12191999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25000"/>
                </a:schemeClr>
              </a:gs>
              <a:gs pos="100000">
                <a:schemeClr val="tx1"/>
              </a:gs>
            </a:gsLst>
            <a:lin ang="81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F3A1090-EE8A-4636-8196-C33A4B95AE8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5697" y="3052492"/>
            <a:ext cx="2003932" cy="753014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827F25B-6EF4-4723-9071-AB4E24D28AD8}"/>
              </a:ext>
            </a:extLst>
          </p:cNvPr>
          <p:cNvSpPr/>
          <p:nvPr userDrawn="1"/>
        </p:nvSpPr>
        <p:spPr>
          <a:xfrm>
            <a:off x="1" y="6811353"/>
            <a:ext cx="12192000" cy="46648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t-BR" sz="1632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652053" y="6639224"/>
            <a:ext cx="170101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816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sz="816" dirty="0">
              <a:solidFill>
                <a:srgbClr val="FFFFFF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 fontAlgn="base">
              <a:spcBef>
                <a:spcPct val="0"/>
              </a:spcBef>
              <a:spcAft>
                <a:spcPct val="0"/>
              </a:spcAft>
            </a:pPr>
            <a:endParaRPr lang="en-US" sz="612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5499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4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>
          <a:xfrm>
            <a:off x="391886" y="376691"/>
            <a:ext cx="11386457" cy="608942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391886" y="376691"/>
            <a:ext cx="3684815" cy="6089423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91886" y="6481989"/>
            <a:ext cx="27432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000" baseline="0">
                <a:solidFill>
                  <a:schemeClr val="accent5">
                    <a:lumMod val="60000"/>
                    <a:lumOff val="40000"/>
                  </a:schemeClr>
                </a:solidFill>
                <a:latin typeface="Verdana Regular" charset="0"/>
              </a:defRPr>
            </a:lvl1pPr>
          </a:lstStyle>
          <a:p>
            <a:fld id="{B55780C9-1218-2442-B992-B1EF8E30C659}" type="slidenum">
              <a:rPr lang="en-US" smtClean="0">
                <a:solidFill>
                  <a:srgbClr val="3B3B3B">
                    <a:lumMod val="60000"/>
                    <a:lumOff val="40000"/>
                  </a:srgbClr>
                </a:solidFill>
              </a:rPr>
              <a:pPr/>
              <a:t>‹Nº›</a:t>
            </a:fld>
            <a:endParaRPr lang="en-US" dirty="0">
              <a:solidFill>
                <a:srgbClr val="3B3B3B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2" name="Footer Placeholder 6"/>
          <p:cNvSpPr>
            <a:spLocks noGrp="1"/>
          </p:cNvSpPr>
          <p:nvPr>
            <p:ph type="ftr" sz="quarter" idx="14"/>
          </p:nvPr>
        </p:nvSpPr>
        <p:spPr>
          <a:xfrm>
            <a:off x="7663543" y="6492875"/>
            <a:ext cx="41148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100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 dirty="0">
              <a:solidFill>
                <a:srgbClr val="3B3B3B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8" name="Text Placeholder 2"/>
          <p:cNvSpPr>
            <a:spLocks noGrp="1"/>
          </p:cNvSpPr>
          <p:nvPr>
            <p:ph type="body" idx="16"/>
          </p:nvPr>
        </p:nvSpPr>
        <p:spPr>
          <a:xfrm>
            <a:off x="4270661" y="579891"/>
            <a:ext cx="7274793" cy="4445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400" b="1">
                <a:solidFill>
                  <a:schemeClr val="accent5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8"/>
          </p:nvPr>
        </p:nvSpPr>
        <p:spPr>
          <a:xfrm>
            <a:off x="4270375" y="1226445"/>
            <a:ext cx="7275078" cy="4983162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accent5"/>
                </a:solidFill>
              </a:defRPr>
            </a:lvl1pPr>
            <a:lvl2pPr>
              <a:defRPr sz="1100">
                <a:solidFill>
                  <a:schemeClr val="accent5"/>
                </a:solidFill>
              </a:defRPr>
            </a:lvl2pPr>
            <a:lvl3pPr>
              <a:defRPr sz="1100">
                <a:solidFill>
                  <a:schemeClr val="accent5"/>
                </a:solidFill>
              </a:defRPr>
            </a:lvl3pPr>
            <a:lvl4pPr>
              <a:defRPr sz="1100">
                <a:solidFill>
                  <a:schemeClr val="accent5"/>
                </a:solidFill>
              </a:defRPr>
            </a:lvl4pPr>
            <a:lvl5pPr>
              <a:defRPr sz="11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1"/>
          </p:nvPr>
        </p:nvSpPr>
        <p:spPr>
          <a:xfrm>
            <a:off x="631535" y="579891"/>
            <a:ext cx="3254666" cy="4445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400" b="1">
                <a:solidFill>
                  <a:schemeClr val="accent5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sz="quarter" idx="19"/>
          </p:nvPr>
        </p:nvSpPr>
        <p:spPr>
          <a:xfrm>
            <a:off x="631535" y="1226445"/>
            <a:ext cx="3254666" cy="4983162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accent5"/>
                </a:solidFill>
              </a:defRPr>
            </a:lvl1pPr>
            <a:lvl2pPr>
              <a:defRPr sz="1100">
                <a:solidFill>
                  <a:schemeClr val="accent5"/>
                </a:solidFill>
              </a:defRPr>
            </a:lvl2pPr>
            <a:lvl3pPr>
              <a:defRPr sz="1100">
                <a:solidFill>
                  <a:schemeClr val="accent5"/>
                </a:solidFill>
              </a:defRPr>
            </a:lvl3pPr>
            <a:lvl4pPr>
              <a:defRPr sz="1100">
                <a:solidFill>
                  <a:schemeClr val="accent5"/>
                </a:solidFill>
              </a:defRPr>
            </a:lvl4pPr>
            <a:lvl5pPr>
              <a:defRPr sz="11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3" name="Straight Connector 5"/>
          <p:cNvCxnSpPr/>
          <p:nvPr userDrawn="1"/>
        </p:nvCxnSpPr>
        <p:spPr>
          <a:xfrm>
            <a:off x="381000" y="6466114"/>
            <a:ext cx="11397343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7848686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381000" y="6466114"/>
            <a:ext cx="11397343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91886" y="6481989"/>
            <a:ext cx="27432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000" baseline="0">
                <a:solidFill>
                  <a:schemeClr val="accent5">
                    <a:lumMod val="60000"/>
                    <a:lumOff val="40000"/>
                  </a:schemeClr>
                </a:solidFill>
                <a:latin typeface="Verdana Regular" charset="0"/>
              </a:defRPr>
            </a:lvl1pPr>
          </a:lstStyle>
          <a:p>
            <a:fld id="{B55780C9-1218-2442-B992-B1EF8E30C659}" type="slidenum">
              <a:rPr lang="en-US" smtClean="0">
                <a:solidFill>
                  <a:srgbClr val="3B3B3B">
                    <a:lumMod val="60000"/>
                    <a:lumOff val="40000"/>
                  </a:srgbClr>
                </a:solidFill>
              </a:rPr>
              <a:pPr/>
              <a:t>‹Nº›</a:t>
            </a:fld>
            <a:endParaRPr lang="en-US" dirty="0">
              <a:solidFill>
                <a:srgbClr val="3B3B3B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2" name="Footer Placeholder 6"/>
          <p:cNvSpPr>
            <a:spLocks noGrp="1"/>
          </p:cNvSpPr>
          <p:nvPr>
            <p:ph type="ftr" sz="quarter" idx="14"/>
          </p:nvPr>
        </p:nvSpPr>
        <p:spPr>
          <a:xfrm>
            <a:off x="7663543" y="6492875"/>
            <a:ext cx="41148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100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 dirty="0">
              <a:solidFill>
                <a:srgbClr val="3B3B3B">
                  <a:lumMod val="60000"/>
                  <a:lumOff val="40000"/>
                </a:srgbClr>
              </a:solidFill>
            </a:endParaRP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391886" y="914400"/>
            <a:ext cx="11385777" cy="553584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385535" y="376691"/>
            <a:ext cx="11403694" cy="287337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400" b="1">
                <a:solidFill>
                  <a:schemeClr val="accent5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726679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4"/>
          <p:cNvSpPr>
            <a:spLocks noGrp="1"/>
          </p:cNvSpPr>
          <p:nvPr>
            <p:ph sz="quarter" idx="22"/>
          </p:nvPr>
        </p:nvSpPr>
        <p:spPr>
          <a:xfrm>
            <a:off x="391886" y="914400"/>
            <a:ext cx="5626142" cy="5551714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24"/>
          </p:nvPr>
        </p:nvSpPr>
        <p:spPr>
          <a:xfrm>
            <a:off x="6163087" y="914400"/>
            <a:ext cx="5626142" cy="5551714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81000" y="6466114"/>
            <a:ext cx="11397343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91886" y="6481989"/>
            <a:ext cx="27432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000" baseline="0">
                <a:solidFill>
                  <a:schemeClr val="accent5">
                    <a:lumMod val="60000"/>
                    <a:lumOff val="40000"/>
                  </a:schemeClr>
                </a:solidFill>
                <a:latin typeface="Verdana Regular" charset="0"/>
              </a:defRPr>
            </a:lvl1pPr>
          </a:lstStyle>
          <a:p>
            <a:fld id="{B55780C9-1218-2442-B992-B1EF8E30C659}" type="slidenum">
              <a:rPr lang="en-US" smtClean="0">
                <a:solidFill>
                  <a:srgbClr val="3B3B3B">
                    <a:lumMod val="60000"/>
                    <a:lumOff val="40000"/>
                  </a:srgbClr>
                </a:solidFill>
              </a:rPr>
              <a:pPr/>
              <a:t>‹Nº›</a:t>
            </a:fld>
            <a:endParaRPr lang="en-US" dirty="0">
              <a:solidFill>
                <a:srgbClr val="3B3B3B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2" name="Footer Placeholder 6"/>
          <p:cNvSpPr>
            <a:spLocks noGrp="1"/>
          </p:cNvSpPr>
          <p:nvPr>
            <p:ph type="ftr" sz="quarter" idx="14"/>
          </p:nvPr>
        </p:nvSpPr>
        <p:spPr>
          <a:xfrm>
            <a:off x="7663543" y="6492875"/>
            <a:ext cx="41148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100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 dirty="0">
              <a:solidFill>
                <a:srgbClr val="3B3B3B">
                  <a:lumMod val="60000"/>
                  <a:lumOff val="40000"/>
                </a:srgbClr>
              </a:solidFill>
            </a:endParaRPr>
          </a:p>
        </p:txBody>
      </p:sp>
      <p:sp>
        <p:nvSpPr>
          <p:cNvPr id="21" name="Text Placeholder 2"/>
          <p:cNvSpPr>
            <a:spLocks noGrp="1"/>
          </p:cNvSpPr>
          <p:nvPr>
            <p:ph type="body" idx="1"/>
          </p:nvPr>
        </p:nvSpPr>
        <p:spPr>
          <a:xfrm>
            <a:off x="385535" y="376691"/>
            <a:ext cx="11403694" cy="287337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400" b="1">
                <a:solidFill>
                  <a:schemeClr val="accent5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2236164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ontent Placeholder 4"/>
          <p:cNvSpPr>
            <a:spLocks noGrp="1"/>
          </p:cNvSpPr>
          <p:nvPr>
            <p:ph sz="quarter" idx="22"/>
          </p:nvPr>
        </p:nvSpPr>
        <p:spPr>
          <a:xfrm>
            <a:off x="391886" y="914400"/>
            <a:ext cx="5626142" cy="270171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endParaRPr lang="en-US" dirty="0"/>
          </a:p>
        </p:txBody>
      </p:sp>
      <p:sp>
        <p:nvSpPr>
          <p:cNvPr id="22" name="Content Placeholder 4"/>
          <p:cNvSpPr>
            <a:spLocks noGrp="1"/>
          </p:cNvSpPr>
          <p:nvPr>
            <p:ph sz="quarter" idx="23"/>
          </p:nvPr>
        </p:nvSpPr>
        <p:spPr>
          <a:xfrm>
            <a:off x="391886" y="3757664"/>
            <a:ext cx="5626142" cy="270171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endParaRPr lang="en-US" dirty="0"/>
          </a:p>
        </p:txBody>
      </p:sp>
      <p:sp>
        <p:nvSpPr>
          <p:cNvPr id="23" name="Content Placeholder 4"/>
          <p:cNvSpPr>
            <a:spLocks noGrp="1"/>
          </p:cNvSpPr>
          <p:nvPr>
            <p:ph sz="quarter" idx="24"/>
          </p:nvPr>
        </p:nvSpPr>
        <p:spPr>
          <a:xfrm>
            <a:off x="6163087" y="914400"/>
            <a:ext cx="5626142" cy="270171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endParaRPr lang="en-US" dirty="0"/>
          </a:p>
        </p:txBody>
      </p:sp>
      <p:sp>
        <p:nvSpPr>
          <p:cNvPr id="24" name="Content Placeholder 4"/>
          <p:cNvSpPr>
            <a:spLocks noGrp="1"/>
          </p:cNvSpPr>
          <p:nvPr>
            <p:ph sz="quarter" idx="25"/>
          </p:nvPr>
        </p:nvSpPr>
        <p:spPr>
          <a:xfrm>
            <a:off x="6163087" y="3757664"/>
            <a:ext cx="5626142" cy="270171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81000" y="6466114"/>
            <a:ext cx="11397343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91886" y="6481989"/>
            <a:ext cx="27432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000" baseline="0">
                <a:solidFill>
                  <a:schemeClr val="accent5">
                    <a:lumMod val="60000"/>
                    <a:lumOff val="40000"/>
                  </a:schemeClr>
                </a:solidFill>
                <a:latin typeface="Verdana Regular" charset="0"/>
              </a:defRPr>
            </a:lvl1pPr>
          </a:lstStyle>
          <a:p>
            <a:fld id="{B55780C9-1218-2442-B992-B1EF8E30C659}" type="slidenum">
              <a:rPr lang="en-US" smtClean="0">
                <a:solidFill>
                  <a:srgbClr val="3B3B3B">
                    <a:lumMod val="60000"/>
                    <a:lumOff val="40000"/>
                  </a:srgbClr>
                </a:solidFill>
              </a:rPr>
              <a:pPr/>
              <a:t>‹Nº›</a:t>
            </a:fld>
            <a:endParaRPr lang="en-US" dirty="0">
              <a:solidFill>
                <a:srgbClr val="3B3B3B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2" name="Footer Placeholder 6"/>
          <p:cNvSpPr>
            <a:spLocks noGrp="1"/>
          </p:cNvSpPr>
          <p:nvPr>
            <p:ph type="ftr" sz="quarter" idx="14"/>
          </p:nvPr>
        </p:nvSpPr>
        <p:spPr>
          <a:xfrm>
            <a:off x="7663543" y="6492875"/>
            <a:ext cx="41148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100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 dirty="0">
              <a:solidFill>
                <a:srgbClr val="3B3B3B">
                  <a:lumMod val="60000"/>
                  <a:lumOff val="40000"/>
                </a:srgbClr>
              </a:solidFill>
            </a:endParaRPr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385535" y="376691"/>
            <a:ext cx="11403694" cy="287337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400" b="1">
                <a:solidFill>
                  <a:schemeClr val="accent5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3452270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381000" y="6466114"/>
            <a:ext cx="11397343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91886" y="6481989"/>
            <a:ext cx="27432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000" baseline="0">
                <a:solidFill>
                  <a:schemeClr val="accent5">
                    <a:lumMod val="60000"/>
                    <a:lumOff val="40000"/>
                  </a:schemeClr>
                </a:solidFill>
                <a:latin typeface="Verdana Regular" charset="0"/>
              </a:defRPr>
            </a:lvl1pPr>
          </a:lstStyle>
          <a:p>
            <a:fld id="{B55780C9-1218-2442-B992-B1EF8E30C659}" type="slidenum">
              <a:rPr lang="en-US" smtClean="0">
                <a:solidFill>
                  <a:srgbClr val="3B3B3B">
                    <a:lumMod val="60000"/>
                    <a:lumOff val="40000"/>
                  </a:srgbClr>
                </a:solidFill>
              </a:rPr>
              <a:pPr/>
              <a:t>‹Nº›</a:t>
            </a:fld>
            <a:endParaRPr lang="en-US" dirty="0">
              <a:solidFill>
                <a:srgbClr val="3B3B3B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2" name="Footer Placeholder 6"/>
          <p:cNvSpPr>
            <a:spLocks noGrp="1"/>
          </p:cNvSpPr>
          <p:nvPr>
            <p:ph type="ftr" sz="quarter" idx="14"/>
          </p:nvPr>
        </p:nvSpPr>
        <p:spPr>
          <a:xfrm>
            <a:off x="7663543" y="6492875"/>
            <a:ext cx="41148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100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 dirty="0">
              <a:solidFill>
                <a:srgbClr val="3B3B3B">
                  <a:lumMod val="60000"/>
                  <a:lumOff val="40000"/>
                </a:srgbClr>
              </a:solidFill>
            </a:endParaRPr>
          </a:p>
        </p:txBody>
      </p:sp>
      <p:sp>
        <p:nvSpPr>
          <p:cNvPr id="24" name="Content Placeholder 4"/>
          <p:cNvSpPr>
            <a:spLocks noGrp="1"/>
          </p:cNvSpPr>
          <p:nvPr>
            <p:ph sz="quarter" idx="22"/>
          </p:nvPr>
        </p:nvSpPr>
        <p:spPr>
          <a:xfrm>
            <a:off x="391886" y="914400"/>
            <a:ext cx="3694339" cy="553583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endParaRPr lang="en-US" dirty="0"/>
          </a:p>
        </p:txBody>
      </p:sp>
      <p:sp>
        <p:nvSpPr>
          <p:cNvPr id="25" name="Content Placeholder 4"/>
          <p:cNvSpPr>
            <a:spLocks noGrp="1"/>
          </p:cNvSpPr>
          <p:nvPr>
            <p:ph sz="quarter" idx="23"/>
          </p:nvPr>
        </p:nvSpPr>
        <p:spPr>
          <a:xfrm>
            <a:off x="4233672" y="914400"/>
            <a:ext cx="3694339" cy="553583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endParaRPr lang="en-US" dirty="0"/>
          </a:p>
        </p:txBody>
      </p:sp>
      <p:sp>
        <p:nvSpPr>
          <p:cNvPr id="26" name="Content Placeholder 4"/>
          <p:cNvSpPr>
            <a:spLocks noGrp="1"/>
          </p:cNvSpPr>
          <p:nvPr>
            <p:ph sz="quarter" idx="24"/>
          </p:nvPr>
        </p:nvSpPr>
        <p:spPr>
          <a:xfrm>
            <a:off x="8094890" y="914400"/>
            <a:ext cx="3694339" cy="553583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endParaRPr lang="en-US" dirty="0"/>
          </a:p>
        </p:txBody>
      </p:sp>
      <p:sp>
        <p:nvSpPr>
          <p:cNvPr id="27" name="Text Placeholder 2"/>
          <p:cNvSpPr>
            <a:spLocks noGrp="1"/>
          </p:cNvSpPr>
          <p:nvPr>
            <p:ph type="body" idx="1"/>
          </p:nvPr>
        </p:nvSpPr>
        <p:spPr>
          <a:xfrm>
            <a:off x="385535" y="376691"/>
            <a:ext cx="11403694" cy="287337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400" b="1">
                <a:solidFill>
                  <a:schemeClr val="accent5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771267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t Placeholder 4"/>
          <p:cNvSpPr>
            <a:spLocks noGrp="1"/>
          </p:cNvSpPr>
          <p:nvPr>
            <p:ph sz="quarter" idx="22"/>
          </p:nvPr>
        </p:nvSpPr>
        <p:spPr>
          <a:xfrm>
            <a:off x="391886" y="914400"/>
            <a:ext cx="3694339" cy="269419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endParaRPr lang="en-US" dirty="0"/>
          </a:p>
        </p:txBody>
      </p:sp>
      <p:sp>
        <p:nvSpPr>
          <p:cNvPr id="25" name="Content Placeholder 4"/>
          <p:cNvSpPr>
            <a:spLocks noGrp="1"/>
          </p:cNvSpPr>
          <p:nvPr>
            <p:ph sz="quarter" idx="23"/>
          </p:nvPr>
        </p:nvSpPr>
        <p:spPr>
          <a:xfrm>
            <a:off x="4233672" y="914400"/>
            <a:ext cx="3694339" cy="269419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endParaRPr lang="en-US" dirty="0"/>
          </a:p>
        </p:txBody>
      </p:sp>
      <p:sp>
        <p:nvSpPr>
          <p:cNvPr id="26" name="Content Placeholder 4"/>
          <p:cNvSpPr>
            <a:spLocks noGrp="1"/>
          </p:cNvSpPr>
          <p:nvPr>
            <p:ph sz="quarter" idx="24"/>
          </p:nvPr>
        </p:nvSpPr>
        <p:spPr>
          <a:xfrm>
            <a:off x="8094890" y="914400"/>
            <a:ext cx="3694339" cy="269419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endParaRPr lang="en-US" dirty="0"/>
          </a:p>
        </p:txBody>
      </p:sp>
      <p:sp>
        <p:nvSpPr>
          <p:cNvPr id="13" name="Content Placeholder 4"/>
          <p:cNvSpPr>
            <a:spLocks noGrp="1"/>
          </p:cNvSpPr>
          <p:nvPr>
            <p:ph sz="quarter" idx="25"/>
          </p:nvPr>
        </p:nvSpPr>
        <p:spPr>
          <a:xfrm>
            <a:off x="391886" y="3756042"/>
            <a:ext cx="3694339" cy="269419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endParaRPr lang="en-US" dirty="0"/>
          </a:p>
        </p:txBody>
      </p:sp>
      <p:sp>
        <p:nvSpPr>
          <p:cNvPr id="14" name="Content Placeholder 4"/>
          <p:cNvSpPr>
            <a:spLocks noGrp="1"/>
          </p:cNvSpPr>
          <p:nvPr>
            <p:ph sz="quarter" idx="26"/>
          </p:nvPr>
        </p:nvSpPr>
        <p:spPr>
          <a:xfrm>
            <a:off x="4233672" y="3756042"/>
            <a:ext cx="3694339" cy="269419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endParaRPr lang="en-US" dirty="0"/>
          </a:p>
        </p:txBody>
      </p:sp>
      <p:sp>
        <p:nvSpPr>
          <p:cNvPr id="15" name="Content Placeholder 4"/>
          <p:cNvSpPr>
            <a:spLocks noGrp="1"/>
          </p:cNvSpPr>
          <p:nvPr>
            <p:ph sz="quarter" idx="27"/>
          </p:nvPr>
        </p:nvSpPr>
        <p:spPr>
          <a:xfrm>
            <a:off x="8094890" y="3756042"/>
            <a:ext cx="3694339" cy="269419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81000" y="6466114"/>
            <a:ext cx="11397343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91886" y="6481989"/>
            <a:ext cx="27432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000" baseline="0">
                <a:solidFill>
                  <a:schemeClr val="accent5">
                    <a:lumMod val="60000"/>
                    <a:lumOff val="40000"/>
                  </a:schemeClr>
                </a:solidFill>
                <a:latin typeface="Verdana Regular" charset="0"/>
              </a:defRPr>
            </a:lvl1pPr>
          </a:lstStyle>
          <a:p>
            <a:fld id="{B55780C9-1218-2442-B992-B1EF8E30C659}" type="slidenum">
              <a:rPr lang="en-US" smtClean="0">
                <a:solidFill>
                  <a:srgbClr val="3B3B3B">
                    <a:lumMod val="60000"/>
                    <a:lumOff val="40000"/>
                  </a:srgbClr>
                </a:solidFill>
              </a:rPr>
              <a:pPr/>
              <a:t>‹Nº›</a:t>
            </a:fld>
            <a:endParaRPr lang="en-US" dirty="0">
              <a:solidFill>
                <a:srgbClr val="3B3B3B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2" name="Footer Placeholder 6"/>
          <p:cNvSpPr>
            <a:spLocks noGrp="1"/>
          </p:cNvSpPr>
          <p:nvPr>
            <p:ph type="ftr" sz="quarter" idx="14"/>
          </p:nvPr>
        </p:nvSpPr>
        <p:spPr>
          <a:xfrm>
            <a:off x="7663543" y="6492875"/>
            <a:ext cx="41148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100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 dirty="0">
              <a:solidFill>
                <a:srgbClr val="3B3B3B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6" name="Text Placeholder 2"/>
          <p:cNvSpPr>
            <a:spLocks noGrp="1"/>
          </p:cNvSpPr>
          <p:nvPr>
            <p:ph type="body" idx="1"/>
          </p:nvPr>
        </p:nvSpPr>
        <p:spPr>
          <a:xfrm>
            <a:off x="385535" y="376691"/>
            <a:ext cx="11403694" cy="287337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400" b="1">
                <a:solidFill>
                  <a:schemeClr val="accent5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334861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t Placeholder 4"/>
          <p:cNvSpPr>
            <a:spLocks noGrp="1"/>
          </p:cNvSpPr>
          <p:nvPr>
            <p:ph sz="quarter" idx="22"/>
          </p:nvPr>
        </p:nvSpPr>
        <p:spPr>
          <a:xfrm>
            <a:off x="391886" y="914400"/>
            <a:ext cx="3694339" cy="5535837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endParaRPr lang="en-US" dirty="0"/>
          </a:p>
        </p:txBody>
      </p:sp>
      <p:sp>
        <p:nvSpPr>
          <p:cNvPr id="25" name="Content Placeholder 4"/>
          <p:cNvSpPr>
            <a:spLocks noGrp="1"/>
          </p:cNvSpPr>
          <p:nvPr>
            <p:ph sz="quarter" idx="23"/>
          </p:nvPr>
        </p:nvSpPr>
        <p:spPr>
          <a:xfrm>
            <a:off x="4233672" y="914400"/>
            <a:ext cx="3694339" cy="269419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endParaRPr lang="en-US" dirty="0"/>
          </a:p>
        </p:txBody>
      </p:sp>
      <p:sp>
        <p:nvSpPr>
          <p:cNvPr id="26" name="Content Placeholder 4"/>
          <p:cNvSpPr>
            <a:spLocks noGrp="1"/>
          </p:cNvSpPr>
          <p:nvPr>
            <p:ph sz="quarter" idx="24"/>
          </p:nvPr>
        </p:nvSpPr>
        <p:spPr>
          <a:xfrm>
            <a:off x="8094890" y="914400"/>
            <a:ext cx="3694339" cy="269419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endParaRPr lang="en-US" dirty="0"/>
          </a:p>
        </p:txBody>
      </p:sp>
      <p:sp>
        <p:nvSpPr>
          <p:cNvPr id="14" name="Content Placeholder 4"/>
          <p:cNvSpPr>
            <a:spLocks noGrp="1"/>
          </p:cNvSpPr>
          <p:nvPr>
            <p:ph sz="quarter" idx="26"/>
          </p:nvPr>
        </p:nvSpPr>
        <p:spPr>
          <a:xfrm>
            <a:off x="4233672" y="3756042"/>
            <a:ext cx="3694339" cy="269419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endParaRPr lang="en-US" dirty="0"/>
          </a:p>
        </p:txBody>
      </p:sp>
      <p:sp>
        <p:nvSpPr>
          <p:cNvPr id="15" name="Content Placeholder 4"/>
          <p:cNvSpPr>
            <a:spLocks noGrp="1"/>
          </p:cNvSpPr>
          <p:nvPr>
            <p:ph sz="quarter" idx="27"/>
          </p:nvPr>
        </p:nvSpPr>
        <p:spPr>
          <a:xfrm>
            <a:off x="8094890" y="3756042"/>
            <a:ext cx="3694339" cy="269419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81000" y="6466114"/>
            <a:ext cx="11397343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91886" y="6481989"/>
            <a:ext cx="27432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000" baseline="0">
                <a:solidFill>
                  <a:schemeClr val="accent5">
                    <a:lumMod val="60000"/>
                    <a:lumOff val="40000"/>
                  </a:schemeClr>
                </a:solidFill>
                <a:latin typeface="Verdana Regular" charset="0"/>
              </a:defRPr>
            </a:lvl1pPr>
          </a:lstStyle>
          <a:p>
            <a:fld id="{B55780C9-1218-2442-B992-B1EF8E30C659}" type="slidenum">
              <a:rPr lang="en-US" smtClean="0">
                <a:solidFill>
                  <a:srgbClr val="3B3B3B">
                    <a:lumMod val="60000"/>
                    <a:lumOff val="40000"/>
                  </a:srgbClr>
                </a:solidFill>
              </a:rPr>
              <a:pPr/>
              <a:t>‹Nº›</a:t>
            </a:fld>
            <a:endParaRPr lang="en-US" dirty="0">
              <a:solidFill>
                <a:srgbClr val="3B3B3B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2" name="Footer Placeholder 6"/>
          <p:cNvSpPr>
            <a:spLocks noGrp="1"/>
          </p:cNvSpPr>
          <p:nvPr>
            <p:ph type="ftr" sz="quarter" idx="14"/>
          </p:nvPr>
        </p:nvSpPr>
        <p:spPr>
          <a:xfrm>
            <a:off x="7663543" y="6492875"/>
            <a:ext cx="411480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100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 dirty="0">
              <a:solidFill>
                <a:srgbClr val="3B3B3B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6" name="Text Placeholder 2"/>
          <p:cNvSpPr>
            <a:spLocks noGrp="1"/>
          </p:cNvSpPr>
          <p:nvPr>
            <p:ph type="body" idx="1"/>
          </p:nvPr>
        </p:nvSpPr>
        <p:spPr>
          <a:xfrm>
            <a:off x="385535" y="376691"/>
            <a:ext cx="11403694" cy="287337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400" b="1">
                <a:solidFill>
                  <a:schemeClr val="accent5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9083810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8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7" name="Objeto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8201" y="365127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838201" y="635635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771665F2-BEED-4C95-A4CA-32FDBB2F3C17}" type="slidenum">
              <a:rPr lang="pt-BR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749761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e rodapé V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2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70703912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>
              <a:solidFill>
                <a:prstClr val="black"/>
              </a:solidFill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>
              <a:solidFill>
                <a:prstClr val="black"/>
              </a:solidFill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A246F472-767E-43E9-A414-906CBB61C531}" type="slidenum">
              <a:rPr lang="pt-BR">
                <a:solidFill>
                  <a:prstClr val="black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pt-BR">
              <a:solidFill>
                <a:prstClr val="black"/>
              </a:solidFill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394728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Slide do think-cell" r:id="rId5" imgW="386" imgH="386" progId="TCLayout.ActiveDocument.1">
                  <p:embed/>
                </p:oleObj>
              </mc:Choice>
              <mc:Fallback>
                <p:oleObj name="Slide do think-cell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C6D4636-11AB-466C-B46A-3E11EA656B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04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652053" y="6639224"/>
            <a:ext cx="170101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816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sz="816" dirty="0">
              <a:solidFill>
                <a:srgbClr val="FFFFFF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 fontAlgn="base">
              <a:spcBef>
                <a:spcPct val="0"/>
              </a:spcBef>
              <a:spcAft>
                <a:spcPct val="0"/>
              </a:spcAft>
            </a:pPr>
            <a:endParaRPr lang="en-US" sz="612" dirty="0">
              <a:solidFill>
                <a:srgbClr val="808080"/>
              </a:solidFill>
            </a:endParaRPr>
          </a:p>
        </p:txBody>
      </p:sp>
      <p:sp>
        <p:nvSpPr>
          <p:cNvPr id="6" name="SlideLogoText" hidden="1">
            <a:extLst>
              <a:ext uri="{FF2B5EF4-FFF2-40B4-BE49-F238E27FC236}">
                <a16:creationId xmlns:a16="http://schemas.microsoft.com/office/drawing/2014/main" id="{EC1836C4-4624-443F-9F3B-8DF897369D91}"/>
              </a:ext>
            </a:extLst>
          </p:cNvPr>
          <p:cNvSpPr txBox="1"/>
          <p:nvPr userDrawn="1"/>
        </p:nvSpPr>
        <p:spPr>
          <a:xfrm>
            <a:off x="10490964" y="6641683"/>
            <a:ext cx="1050047" cy="128097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816" dirty="0">
                <a:solidFill>
                  <a:srgbClr val="FFFFFF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0510380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6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2"/>
          <p:cNvSpPr txBox="1">
            <a:spLocks/>
          </p:cNvSpPr>
          <p:nvPr userDrawn="1"/>
        </p:nvSpPr>
        <p:spPr>
          <a:xfrm rot="10800000" flipV="1">
            <a:off x="11908275" y="6665345"/>
            <a:ext cx="203608" cy="153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>
            <a:lvl1pPr algn="r">
              <a:defRPr sz="1000">
                <a:latin typeface="Times New Roman" pitchFamily="18" charset="0"/>
                <a:cs typeface="Times New Roman" pitchFamily="18" charset="0"/>
              </a:defRPr>
            </a:lvl1pPr>
          </a:lstStyle>
          <a:p>
            <a:pPr defTabSz="1017331" fontAlgn="base">
              <a:spcBef>
                <a:spcPct val="0"/>
              </a:spcBef>
              <a:spcAft>
                <a:spcPct val="0"/>
              </a:spcAft>
              <a:defRPr/>
            </a:pPr>
            <a:fld id="{F70F02F7-EE54-4B6B-A095-43F23D2B5A83}" type="slidenum">
              <a:rPr lang="pt-BR" altLang="zh-CN" smtClean="0">
                <a:solidFill>
                  <a:prstClr val="black">
                    <a:lumMod val="50000"/>
                    <a:lumOff val="50000"/>
                  </a:prstClr>
                </a:solidFill>
                <a:latin typeface="Arial" charset="0"/>
                <a:cs typeface="Arial" charset="0"/>
              </a:rPr>
              <a:pPr defTabSz="1017331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pt-BR" altLang="zh-CN" dirty="0">
              <a:solidFill>
                <a:prstClr val="black">
                  <a:lumMod val="50000"/>
                  <a:lumOff val="50000"/>
                </a:prstClr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0917020"/>
      </p:ext>
    </p:extLst>
  </p:cSld>
  <p:clrMapOvr>
    <a:masterClrMapping/>
  </p:clrMapOvr>
  <p:transition spd="slow"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0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1246654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ítulo e grá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4" name="Slide do think-cell" r:id="rId4" imgW="0" imgH="0" progId="TCLayout.ActiveDocument.1">
                  <p:embed/>
                </p:oleObj>
              </mc:Choice>
              <mc:Fallback>
                <p:oleObj name="Slide do think-cell" r:id="rId4" imgW="0" imgH="0" progId="TCLayout.ActiveDocument.1">
                  <p:embed/>
                  <p:pic>
                    <p:nvPicPr>
                      <p:cNvPr id="4" name="AutoShap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5906455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ckup Road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8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900" b="1" dirty="0">
              <a:solidFill>
                <a:prstClr val="white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62790" y="0"/>
            <a:ext cx="8640000" cy="540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0" baseline="0">
                <a:solidFill>
                  <a:srgbClr val="50505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endParaRPr lang="pt-BR" dirty="0"/>
          </a:p>
        </p:txBody>
      </p:sp>
      <p:sp>
        <p:nvSpPr>
          <p:cNvPr id="10" name="Slide Number Placeholder 2"/>
          <p:cNvSpPr txBox="1">
            <a:spLocks/>
          </p:cNvSpPr>
          <p:nvPr userDrawn="1"/>
        </p:nvSpPr>
        <p:spPr>
          <a:xfrm rot="10800000" flipV="1">
            <a:off x="11908275" y="6665345"/>
            <a:ext cx="203608" cy="153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>
            <a:lvl1pPr algn="r">
              <a:defRPr sz="1000">
                <a:latin typeface="Times New Roman" pitchFamily="18" charset="0"/>
                <a:cs typeface="Times New Roman" pitchFamily="18" charset="0"/>
              </a:defRPr>
            </a:lvl1pPr>
          </a:lstStyle>
          <a:p>
            <a:pPr defTabSz="1017331" fontAlgn="base">
              <a:spcBef>
                <a:spcPct val="0"/>
              </a:spcBef>
              <a:spcAft>
                <a:spcPct val="0"/>
              </a:spcAft>
              <a:defRPr/>
            </a:pPr>
            <a:fld id="{F70F02F7-EE54-4B6B-A095-43F23D2B5A83}" type="slidenum">
              <a:rPr lang="pt-BR" altLang="zh-CN" smtClean="0">
                <a:solidFill>
                  <a:prstClr val="black">
                    <a:lumMod val="50000"/>
                    <a:lumOff val="50000"/>
                  </a:prstClr>
                </a:solidFill>
                <a:latin typeface="Arial" charset="0"/>
                <a:cs typeface="Arial" charset="0"/>
              </a:rPr>
              <a:pPr defTabSz="1017331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pt-BR" altLang="zh-CN" dirty="0">
              <a:solidFill>
                <a:prstClr val="black">
                  <a:lumMod val="50000"/>
                  <a:lumOff val="50000"/>
                </a:prstClr>
              </a:solidFill>
              <a:latin typeface="Arial" charset="0"/>
              <a:cs typeface="Arial" charset="0"/>
            </a:endParaRPr>
          </a:p>
        </p:txBody>
      </p:sp>
      <p:cxnSp>
        <p:nvCxnSpPr>
          <p:cNvPr id="8" name="Conector reto 7">
            <a:extLst>
              <a:ext uri="{FF2B5EF4-FFF2-40B4-BE49-F238E27FC236}">
                <a16:creationId xmlns:a16="http://schemas.microsoft.com/office/drawing/2014/main" id="{E1C8CBF8-7C61-45EF-933A-CA897D07BD36}"/>
              </a:ext>
            </a:extLst>
          </p:cNvPr>
          <p:cNvCxnSpPr/>
          <p:nvPr userDrawn="1"/>
        </p:nvCxnSpPr>
        <p:spPr>
          <a:xfrm>
            <a:off x="0" y="542578"/>
            <a:ext cx="12186000" cy="0"/>
          </a:xfrm>
          <a:prstGeom prst="line">
            <a:avLst/>
          </a:prstGeom>
          <a:ln>
            <a:solidFill>
              <a:srgbClr val="FF5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ítulo 1">
            <a:extLst>
              <a:ext uri="{FF2B5EF4-FFF2-40B4-BE49-F238E27FC236}">
                <a16:creationId xmlns:a16="http://schemas.microsoft.com/office/drawing/2014/main" id="{E56784C4-8207-421F-BC42-F8E205F6E6C6}"/>
              </a:ext>
            </a:extLst>
          </p:cNvPr>
          <p:cNvSpPr txBox="1">
            <a:spLocks/>
          </p:cNvSpPr>
          <p:nvPr userDrawn="1"/>
        </p:nvSpPr>
        <p:spPr>
          <a:xfrm>
            <a:off x="2162121" y="-4713"/>
            <a:ext cx="8640000" cy="5472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1038977" rtl="0" eaLnBrk="1" latinLnBrk="0" hangingPunct="1">
              <a:spcBef>
                <a:spcPct val="0"/>
              </a:spcBef>
              <a:buNone/>
              <a:defRPr sz="1900" b="1" kern="1200" baseline="0">
                <a:solidFill>
                  <a:srgbClr val="376092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endParaRPr lang="en-US" altLang="en-US" sz="2000" dirty="0">
              <a:solidFill>
                <a:srgbClr val="505050"/>
              </a:solidFill>
              <a:latin typeface="Trebuchet MS" panose="020B0603020202020204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915919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20352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26" Type="http://schemas.openxmlformats.org/officeDocument/2006/relationships/tags" Target="../tags/tag10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5.xml"/><Relationship Id="rId34" Type="http://schemas.openxmlformats.org/officeDocument/2006/relationships/tags" Target="../tags/tag18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5" Type="http://schemas.openxmlformats.org/officeDocument/2006/relationships/tags" Target="../tags/tag9.xml"/><Relationship Id="rId33" Type="http://schemas.openxmlformats.org/officeDocument/2006/relationships/tags" Target="../tags/tag17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tags" Target="../tags/tag4.xml"/><Relationship Id="rId29" Type="http://schemas.openxmlformats.org/officeDocument/2006/relationships/tags" Target="../tags/tag1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8.xml"/><Relationship Id="rId32" Type="http://schemas.openxmlformats.org/officeDocument/2006/relationships/tags" Target="../tags/tag1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7.xml"/><Relationship Id="rId28" Type="http://schemas.openxmlformats.org/officeDocument/2006/relationships/tags" Target="../tags/tag12.xml"/><Relationship Id="rId36" Type="http://schemas.openxmlformats.org/officeDocument/2006/relationships/image" Target="NUL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31" Type="http://schemas.openxmlformats.org/officeDocument/2006/relationships/tags" Target="../tags/tag1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6.xml"/><Relationship Id="rId27" Type="http://schemas.openxmlformats.org/officeDocument/2006/relationships/tags" Target="../tags/tag11.xml"/><Relationship Id="rId30" Type="http://schemas.openxmlformats.org/officeDocument/2006/relationships/tags" Target="../tags/tag14.xml"/><Relationship Id="rId35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image" Target="NULL"/><Relationship Id="rId2" Type="http://schemas.openxmlformats.org/officeDocument/2006/relationships/slideLayout" Target="../slideLayouts/slideLayout17.xml"/><Relationship Id="rId16" Type="http://schemas.openxmlformats.org/officeDocument/2006/relationships/oleObject" Target="../embeddings/oleObject13.bin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tags" Target="../tags/tag41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vmlDrawing" Target="../drawings/vmlDrawing13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tags" Target="../tags/tag51.xml"/><Relationship Id="rId26" Type="http://schemas.openxmlformats.org/officeDocument/2006/relationships/tags" Target="../tags/tag59.xml"/><Relationship Id="rId3" Type="http://schemas.openxmlformats.org/officeDocument/2006/relationships/slideLayout" Target="../slideLayouts/slideLayout30.xml"/><Relationship Id="rId21" Type="http://schemas.openxmlformats.org/officeDocument/2006/relationships/tags" Target="../tags/tag54.xml"/><Relationship Id="rId34" Type="http://schemas.openxmlformats.org/officeDocument/2006/relationships/tags" Target="../tags/tag67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vmlDrawing" Target="../drawings/vmlDrawing21.vml"/><Relationship Id="rId25" Type="http://schemas.openxmlformats.org/officeDocument/2006/relationships/tags" Target="../tags/tag58.xml"/><Relationship Id="rId33" Type="http://schemas.openxmlformats.org/officeDocument/2006/relationships/tags" Target="../tags/tag66.xml"/><Relationship Id="rId2" Type="http://schemas.openxmlformats.org/officeDocument/2006/relationships/slideLayout" Target="../slideLayouts/slideLayout29.xml"/><Relationship Id="rId16" Type="http://schemas.openxmlformats.org/officeDocument/2006/relationships/theme" Target="../theme/theme3.xml"/><Relationship Id="rId20" Type="http://schemas.openxmlformats.org/officeDocument/2006/relationships/tags" Target="../tags/tag53.xml"/><Relationship Id="rId29" Type="http://schemas.openxmlformats.org/officeDocument/2006/relationships/tags" Target="../tags/tag62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24" Type="http://schemas.openxmlformats.org/officeDocument/2006/relationships/tags" Target="../tags/tag57.xml"/><Relationship Id="rId32" Type="http://schemas.openxmlformats.org/officeDocument/2006/relationships/tags" Target="../tags/tag65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tags" Target="../tags/tag56.xml"/><Relationship Id="rId28" Type="http://schemas.openxmlformats.org/officeDocument/2006/relationships/tags" Target="../tags/tag61.xml"/><Relationship Id="rId36" Type="http://schemas.openxmlformats.org/officeDocument/2006/relationships/image" Target="NULL"/><Relationship Id="rId10" Type="http://schemas.openxmlformats.org/officeDocument/2006/relationships/slideLayout" Target="../slideLayouts/slideLayout37.xml"/><Relationship Id="rId19" Type="http://schemas.openxmlformats.org/officeDocument/2006/relationships/tags" Target="../tags/tag52.xml"/><Relationship Id="rId31" Type="http://schemas.openxmlformats.org/officeDocument/2006/relationships/tags" Target="../tags/tag64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tags" Target="../tags/tag55.xml"/><Relationship Id="rId27" Type="http://schemas.openxmlformats.org/officeDocument/2006/relationships/tags" Target="../tags/tag60.xml"/><Relationship Id="rId30" Type="http://schemas.openxmlformats.org/officeDocument/2006/relationships/tags" Target="../tags/tag63.xml"/><Relationship Id="rId35" Type="http://schemas.openxmlformats.org/officeDocument/2006/relationships/oleObject" Target="../embeddings/oleObject21.bin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26" Type="http://schemas.openxmlformats.org/officeDocument/2006/relationships/slideLayout" Target="../slideLayouts/slideLayout68.xml"/><Relationship Id="rId39" Type="http://schemas.openxmlformats.org/officeDocument/2006/relationships/slideLayout" Target="../slideLayouts/slideLayout81.xml"/><Relationship Id="rId21" Type="http://schemas.openxmlformats.org/officeDocument/2006/relationships/slideLayout" Target="../slideLayouts/slideLayout63.xml"/><Relationship Id="rId34" Type="http://schemas.openxmlformats.org/officeDocument/2006/relationships/slideLayout" Target="../slideLayouts/slideLayout76.xml"/><Relationship Id="rId42" Type="http://schemas.openxmlformats.org/officeDocument/2006/relationships/slideLayout" Target="../slideLayouts/slideLayout84.xml"/><Relationship Id="rId47" Type="http://schemas.openxmlformats.org/officeDocument/2006/relationships/slideLayout" Target="../slideLayouts/slideLayout89.xml"/><Relationship Id="rId50" Type="http://schemas.openxmlformats.org/officeDocument/2006/relationships/slideLayout" Target="../slideLayouts/slideLayout92.xml"/><Relationship Id="rId55" Type="http://schemas.openxmlformats.org/officeDocument/2006/relationships/tags" Target="../tags/tag90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5" Type="http://schemas.openxmlformats.org/officeDocument/2006/relationships/slideLayout" Target="../slideLayouts/slideLayout67.xml"/><Relationship Id="rId33" Type="http://schemas.openxmlformats.org/officeDocument/2006/relationships/slideLayout" Target="../slideLayouts/slideLayout75.xml"/><Relationship Id="rId38" Type="http://schemas.openxmlformats.org/officeDocument/2006/relationships/slideLayout" Target="../slideLayouts/slideLayout80.xml"/><Relationship Id="rId46" Type="http://schemas.openxmlformats.org/officeDocument/2006/relationships/slideLayout" Target="../slideLayouts/slideLayout88.xml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20" Type="http://schemas.openxmlformats.org/officeDocument/2006/relationships/slideLayout" Target="../slideLayouts/slideLayout62.xml"/><Relationship Id="rId29" Type="http://schemas.openxmlformats.org/officeDocument/2006/relationships/slideLayout" Target="../slideLayouts/slideLayout71.xml"/><Relationship Id="rId41" Type="http://schemas.openxmlformats.org/officeDocument/2006/relationships/slideLayout" Target="../slideLayouts/slideLayout83.xml"/><Relationship Id="rId54" Type="http://schemas.openxmlformats.org/officeDocument/2006/relationships/vmlDrawing" Target="../drawings/vmlDrawing33.v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24" Type="http://schemas.openxmlformats.org/officeDocument/2006/relationships/slideLayout" Target="../slideLayouts/slideLayout66.xml"/><Relationship Id="rId32" Type="http://schemas.openxmlformats.org/officeDocument/2006/relationships/slideLayout" Target="../slideLayouts/slideLayout74.xml"/><Relationship Id="rId37" Type="http://schemas.openxmlformats.org/officeDocument/2006/relationships/slideLayout" Target="../slideLayouts/slideLayout79.xml"/><Relationship Id="rId40" Type="http://schemas.openxmlformats.org/officeDocument/2006/relationships/slideLayout" Target="../slideLayouts/slideLayout82.xml"/><Relationship Id="rId45" Type="http://schemas.openxmlformats.org/officeDocument/2006/relationships/slideLayout" Target="../slideLayouts/slideLayout87.xml"/><Relationship Id="rId53" Type="http://schemas.openxmlformats.org/officeDocument/2006/relationships/theme" Target="../theme/theme4.xml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23" Type="http://schemas.openxmlformats.org/officeDocument/2006/relationships/slideLayout" Target="../slideLayouts/slideLayout65.xml"/><Relationship Id="rId28" Type="http://schemas.openxmlformats.org/officeDocument/2006/relationships/slideLayout" Target="../slideLayouts/slideLayout70.xml"/><Relationship Id="rId36" Type="http://schemas.openxmlformats.org/officeDocument/2006/relationships/slideLayout" Target="../slideLayouts/slideLayout78.xml"/><Relationship Id="rId49" Type="http://schemas.openxmlformats.org/officeDocument/2006/relationships/slideLayout" Target="../slideLayouts/slideLayout91.xml"/><Relationship Id="rId57" Type="http://schemas.openxmlformats.org/officeDocument/2006/relationships/image" Target="../media/image1.emf"/><Relationship Id="rId10" Type="http://schemas.openxmlformats.org/officeDocument/2006/relationships/slideLayout" Target="../slideLayouts/slideLayout52.xml"/><Relationship Id="rId19" Type="http://schemas.openxmlformats.org/officeDocument/2006/relationships/slideLayout" Target="../slideLayouts/slideLayout61.xml"/><Relationship Id="rId31" Type="http://schemas.openxmlformats.org/officeDocument/2006/relationships/slideLayout" Target="../slideLayouts/slideLayout73.xml"/><Relationship Id="rId44" Type="http://schemas.openxmlformats.org/officeDocument/2006/relationships/slideLayout" Target="../slideLayouts/slideLayout86.xml"/><Relationship Id="rId52" Type="http://schemas.openxmlformats.org/officeDocument/2006/relationships/slideLayout" Target="../slideLayouts/slideLayout94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Relationship Id="rId22" Type="http://schemas.openxmlformats.org/officeDocument/2006/relationships/slideLayout" Target="../slideLayouts/slideLayout64.xml"/><Relationship Id="rId27" Type="http://schemas.openxmlformats.org/officeDocument/2006/relationships/slideLayout" Target="../slideLayouts/slideLayout69.xml"/><Relationship Id="rId30" Type="http://schemas.openxmlformats.org/officeDocument/2006/relationships/slideLayout" Target="../slideLayouts/slideLayout72.xml"/><Relationship Id="rId35" Type="http://schemas.openxmlformats.org/officeDocument/2006/relationships/slideLayout" Target="../slideLayouts/slideLayout77.xml"/><Relationship Id="rId43" Type="http://schemas.openxmlformats.org/officeDocument/2006/relationships/slideLayout" Target="../slideLayouts/slideLayout85.xml"/><Relationship Id="rId48" Type="http://schemas.openxmlformats.org/officeDocument/2006/relationships/slideLayout" Target="../slideLayouts/slideLayout90.xml"/><Relationship Id="rId56" Type="http://schemas.openxmlformats.org/officeDocument/2006/relationships/oleObject" Target="../embeddings/oleObject33.bin"/><Relationship Id="rId8" Type="http://schemas.openxmlformats.org/officeDocument/2006/relationships/slideLayout" Target="../slideLayouts/slideLayout50.xml"/><Relationship Id="rId51" Type="http://schemas.openxmlformats.org/officeDocument/2006/relationships/slideLayout" Target="../slideLayouts/slideLayout93.xml"/><Relationship Id="rId3" Type="http://schemas.openxmlformats.org/officeDocument/2006/relationships/slideLayout" Target="../slideLayouts/slideLayout4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849588615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Slide do think-cell" r:id="rId35" imgW="270" imgH="270" progId="TCLayout.ActiveDocument.1">
                  <p:embed/>
                </p:oleObj>
              </mc:Choice>
              <mc:Fallback>
                <p:oleObj name="Slide do think-cell" r:id="rId3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19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176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 fontAlgn="base">
              <a:spcBef>
                <a:spcPct val="0"/>
              </a:spcBef>
              <a:spcAft>
                <a:spcPct val="0"/>
              </a:spcAft>
            </a:pPr>
            <a:endParaRPr lang="en-US" sz="612" dirty="0">
              <a:solidFill>
                <a:srgbClr val="808080"/>
              </a:solidFill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602761" y="234865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602759" y="77303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16" cap="all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602761" y="566136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32" dirty="0">
                <a:solidFill>
                  <a:srgbClr val="808080"/>
                </a:solidFill>
                <a:latin typeface="Arial"/>
              </a:rPr>
              <a:t>CLIENT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195755" y="6477330"/>
            <a:ext cx="1020874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7465" indent="-8746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16" dirty="0">
                <a:solidFill>
                  <a:srgbClr val="80808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195755" y="6675953"/>
            <a:ext cx="10155320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3735" indent="-503735" defTabSz="1218095" fontAlgn="base">
              <a:spcBef>
                <a:spcPct val="0"/>
              </a:spcBef>
              <a:spcAft>
                <a:spcPct val="0"/>
              </a:spcAft>
            </a:pPr>
            <a:r>
              <a:rPr lang="en-US" sz="816" dirty="0">
                <a:solidFill>
                  <a:srgbClr val="808080"/>
                </a:solidFill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76207" y="127034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32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32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394692" y="291554"/>
            <a:ext cx="492770" cy="156360"/>
            <a:chOff x="8378576" y="285750"/>
            <a:chExt cx="362199" cy="15324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8576" y="285750"/>
              <a:ext cx="362199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1809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816" dirty="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8576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8576" y="438997"/>
              <a:ext cx="36219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1108191" y="285075"/>
            <a:ext cx="789093" cy="1021522"/>
            <a:chOff x="7835905" y="279400"/>
            <a:chExt cx="773373" cy="1001186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794126" y="285075"/>
            <a:ext cx="1103328" cy="749405"/>
            <a:chOff x="7540629" y="279400"/>
            <a:chExt cx="1081348" cy="734486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1040160" y="255920"/>
            <a:ext cx="857123" cy="1333054"/>
            <a:chOff x="7769225" y="250825"/>
            <a:chExt cx="840048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2003218" y="6639739"/>
            <a:ext cx="46648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82091" y="1991016"/>
            <a:ext cx="4389573" cy="13461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1706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hdr="0" ftr="0" dt="0"/>
  <p:txStyles>
    <p:titleStyle>
      <a:lvl1pPr algn="l" defTabSz="1218095" rtl="0" eaLnBrk="1" fontAlgn="base" hangingPunct="1">
        <a:spcBef>
          <a:spcPct val="0"/>
        </a:spcBef>
        <a:spcAft>
          <a:spcPct val="0"/>
        </a:spcAft>
        <a:tabLst>
          <a:tab pos="367156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2pPr>
      <a:lvl3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3pPr>
      <a:lvl4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4pPr>
      <a:lvl5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5pPr>
      <a:lvl6pPr marL="622005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6pPr>
      <a:lvl7pPr marL="1244012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7pPr>
      <a:lvl8pPr marL="1866017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8pPr>
      <a:lvl9pPr marL="2488024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8346" indent="-19467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55462" indent="-25344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28097" indent="-157942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64001" indent="-132231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6pPr>
      <a:lvl7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7pPr>
      <a:lvl8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8pPr>
      <a:lvl9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1pPr>
      <a:lvl2pPr marL="622005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2pPr>
      <a:lvl3pPr marL="1244012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3pPr>
      <a:lvl4pPr marL="1866017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4pPr>
      <a:lvl5pPr marL="2488024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5pPr>
      <a:lvl6pPr marL="3110029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6pPr>
      <a:lvl7pPr marL="3732036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7pPr>
      <a:lvl8pPr marL="4354041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8pPr>
      <a:lvl9pPr marL="4976048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8" name="Slide do think-cell" r:id="rId16" imgW="470" imgH="469" progId="TCLayout.ActiveDocument.1">
                  <p:embed/>
                </p:oleObj>
              </mc:Choice>
              <mc:Fallback>
                <p:oleObj name="Slide do think-cell" r:id="rId16" imgW="470" imgH="469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Conector reto 8">
            <a:extLst>
              <a:ext uri="{FF2B5EF4-FFF2-40B4-BE49-F238E27FC236}">
                <a16:creationId xmlns:a16="http://schemas.microsoft.com/office/drawing/2014/main" id="{9245CBAB-D3D4-4EC5-9BC0-D2E5B711EA01}"/>
              </a:ext>
            </a:extLst>
          </p:cNvPr>
          <p:cNvCxnSpPr/>
          <p:nvPr userDrawn="1"/>
        </p:nvCxnSpPr>
        <p:spPr>
          <a:xfrm>
            <a:off x="0" y="542578"/>
            <a:ext cx="12186000" cy="0"/>
          </a:xfrm>
          <a:prstGeom prst="line">
            <a:avLst/>
          </a:prstGeom>
          <a:ln>
            <a:solidFill>
              <a:srgbClr val="FF5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ítulo 1">
            <a:extLst>
              <a:ext uri="{FF2B5EF4-FFF2-40B4-BE49-F238E27FC236}">
                <a16:creationId xmlns:a16="http://schemas.microsoft.com/office/drawing/2014/main" id="{7354F742-DBDB-4A4D-AAE3-3F6AF3152A54}"/>
              </a:ext>
            </a:extLst>
          </p:cNvPr>
          <p:cNvSpPr txBox="1">
            <a:spLocks/>
          </p:cNvSpPr>
          <p:nvPr userDrawn="1"/>
        </p:nvSpPr>
        <p:spPr>
          <a:xfrm>
            <a:off x="2162121" y="-4713"/>
            <a:ext cx="8640000" cy="5472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1038977" rtl="0" eaLnBrk="1" latinLnBrk="0" hangingPunct="1">
              <a:spcBef>
                <a:spcPct val="0"/>
              </a:spcBef>
              <a:buNone/>
              <a:defRPr sz="1900" b="1" kern="1200" baseline="0">
                <a:solidFill>
                  <a:srgbClr val="376092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endParaRPr lang="en-US" altLang="en-US" sz="2000" dirty="0">
              <a:solidFill>
                <a:srgbClr val="505050"/>
              </a:solidFill>
              <a:latin typeface="Trebuchet MS" panose="020B0603020202020204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9581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692202776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0" name="Slide do think-cell" r:id="rId35" imgW="270" imgH="270" progId="TCLayout.ActiveDocument.1">
                  <p:embed/>
                </p:oleObj>
              </mc:Choice>
              <mc:Fallback>
                <p:oleObj name="Slide do think-cell" r:id="rId3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19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176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 fontAlgn="base">
              <a:spcBef>
                <a:spcPct val="0"/>
              </a:spcBef>
              <a:spcAft>
                <a:spcPct val="0"/>
              </a:spcAft>
            </a:pPr>
            <a:endParaRPr lang="en-US" sz="612" dirty="0">
              <a:solidFill>
                <a:srgbClr val="808080"/>
              </a:solidFill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602761" y="234865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602759" y="77303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16" cap="all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602761" y="566136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32" dirty="0">
                <a:solidFill>
                  <a:srgbClr val="808080"/>
                </a:solidFill>
                <a:latin typeface="Arial"/>
              </a:rPr>
              <a:t>CLIENT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195755" y="6477330"/>
            <a:ext cx="1020874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7465" indent="-8746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16" dirty="0">
                <a:solidFill>
                  <a:srgbClr val="80808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195755" y="6675953"/>
            <a:ext cx="10155320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3735" indent="-503735" defTabSz="1218095" fontAlgn="base">
              <a:spcBef>
                <a:spcPct val="0"/>
              </a:spcBef>
              <a:spcAft>
                <a:spcPct val="0"/>
              </a:spcAft>
            </a:pPr>
            <a:r>
              <a:rPr lang="en-US" sz="816" dirty="0">
                <a:solidFill>
                  <a:srgbClr val="808080"/>
                </a:solidFill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76207" y="127034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32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32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394692" y="291554"/>
            <a:ext cx="492770" cy="156360"/>
            <a:chOff x="8378576" y="285750"/>
            <a:chExt cx="362199" cy="15324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8576" y="285750"/>
              <a:ext cx="362199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1809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816" dirty="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8576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8576" y="438997"/>
              <a:ext cx="36219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1108191" y="285075"/>
            <a:ext cx="789093" cy="1021522"/>
            <a:chOff x="7835905" y="279400"/>
            <a:chExt cx="773373" cy="1001186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794126" y="285075"/>
            <a:ext cx="1103328" cy="749405"/>
            <a:chOff x="7540629" y="279400"/>
            <a:chExt cx="1081348" cy="734486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1040160" y="255920"/>
            <a:ext cx="857123" cy="1333054"/>
            <a:chOff x="7769225" y="250825"/>
            <a:chExt cx="840048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2003218" y="6639739"/>
            <a:ext cx="46648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82091" y="1991016"/>
            <a:ext cx="4389573" cy="13461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02746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707" r:id="rId15"/>
  </p:sldLayoutIdLst>
  <p:hf hdr="0" ftr="0" dt="0"/>
  <p:txStyles>
    <p:titleStyle>
      <a:lvl1pPr algn="l" defTabSz="1218095" rtl="0" eaLnBrk="1" fontAlgn="base" hangingPunct="1">
        <a:spcBef>
          <a:spcPct val="0"/>
        </a:spcBef>
        <a:spcAft>
          <a:spcPct val="0"/>
        </a:spcAft>
        <a:tabLst>
          <a:tab pos="367156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2pPr>
      <a:lvl3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3pPr>
      <a:lvl4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4pPr>
      <a:lvl5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5pPr>
      <a:lvl6pPr marL="622005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6pPr>
      <a:lvl7pPr marL="1244012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7pPr>
      <a:lvl8pPr marL="1866017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8pPr>
      <a:lvl9pPr marL="2488024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8346" indent="-19467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55462" indent="-25344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28097" indent="-157942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64001" indent="-132231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6pPr>
      <a:lvl7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7pPr>
      <a:lvl8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8pPr>
      <a:lvl9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1pPr>
      <a:lvl2pPr marL="622005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2pPr>
      <a:lvl3pPr marL="1244012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3pPr>
      <a:lvl4pPr marL="1866017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4pPr>
      <a:lvl5pPr marL="2488024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5pPr>
      <a:lvl6pPr marL="3110029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6pPr>
      <a:lvl7pPr marL="3732036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7pPr>
      <a:lvl8pPr marL="4354041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8pPr>
      <a:lvl9pPr marL="4976048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55"/>
            </p:custDataLst>
            <p:extLst>
              <p:ext uri="{D42A27DB-BD31-4B8C-83A1-F6EECF244321}">
                <p14:modId xmlns:p14="http://schemas.microsoft.com/office/powerpoint/2010/main" val="41888692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8" name="Slide do think-cell" r:id="rId56" imgW="270" imgH="270" progId="TCLayout.ActiveDocument.1">
                  <p:embed/>
                </p:oleObj>
              </mc:Choice>
              <mc:Fallback>
                <p:oleObj name="Slide do think-cell" r:id="rId56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4760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31" r:id="rId3"/>
    <p:sldLayoutId id="2147483832" r:id="rId4"/>
    <p:sldLayoutId id="2147483833" r:id="rId5"/>
    <p:sldLayoutId id="2147483834" r:id="rId6"/>
    <p:sldLayoutId id="2147483835" r:id="rId7"/>
    <p:sldLayoutId id="2147483836" r:id="rId8"/>
    <p:sldLayoutId id="2147483837" r:id="rId9"/>
    <p:sldLayoutId id="2147483838" r:id="rId10"/>
    <p:sldLayoutId id="2147483839" r:id="rId11"/>
    <p:sldLayoutId id="2147483840" r:id="rId12"/>
    <p:sldLayoutId id="2147483841" r:id="rId13"/>
    <p:sldLayoutId id="2147483842" r:id="rId14"/>
    <p:sldLayoutId id="2147483843" r:id="rId15"/>
    <p:sldLayoutId id="2147483844" r:id="rId16"/>
    <p:sldLayoutId id="2147483845" r:id="rId17"/>
    <p:sldLayoutId id="2147483846" r:id="rId18"/>
    <p:sldLayoutId id="2147483847" r:id="rId19"/>
    <p:sldLayoutId id="2147483848" r:id="rId20"/>
    <p:sldLayoutId id="2147483849" r:id="rId21"/>
    <p:sldLayoutId id="2147483850" r:id="rId22"/>
    <p:sldLayoutId id="2147483851" r:id="rId23"/>
    <p:sldLayoutId id="2147483852" r:id="rId24"/>
    <p:sldLayoutId id="2147483853" r:id="rId25"/>
    <p:sldLayoutId id="2147483854" r:id="rId26"/>
    <p:sldLayoutId id="2147483855" r:id="rId27"/>
    <p:sldLayoutId id="2147483856" r:id="rId28"/>
    <p:sldLayoutId id="2147483857" r:id="rId29"/>
    <p:sldLayoutId id="2147483858" r:id="rId30"/>
    <p:sldLayoutId id="2147483859" r:id="rId31"/>
    <p:sldLayoutId id="2147483860" r:id="rId32"/>
    <p:sldLayoutId id="2147483861" r:id="rId33"/>
    <p:sldLayoutId id="2147483862" r:id="rId34"/>
    <p:sldLayoutId id="2147483863" r:id="rId35"/>
    <p:sldLayoutId id="2147483864" r:id="rId36"/>
    <p:sldLayoutId id="2147483865" r:id="rId37"/>
    <p:sldLayoutId id="2147483866" r:id="rId38"/>
    <p:sldLayoutId id="2147483867" r:id="rId39"/>
    <p:sldLayoutId id="2147483868" r:id="rId40"/>
    <p:sldLayoutId id="2147483869" r:id="rId41"/>
    <p:sldLayoutId id="2147483870" r:id="rId42"/>
    <p:sldLayoutId id="2147483871" r:id="rId43"/>
    <p:sldLayoutId id="2147483872" r:id="rId44"/>
    <p:sldLayoutId id="2147483873" r:id="rId45"/>
    <p:sldLayoutId id="2147483874" r:id="rId46"/>
    <p:sldLayoutId id="2147483875" r:id="rId47"/>
    <p:sldLayoutId id="2147483876" r:id="rId48"/>
    <p:sldLayoutId id="2147483877" r:id="rId49"/>
    <p:sldLayoutId id="2147483878" r:id="rId50"/>
    <p:sldLayoutId id="2147483879" r:id="rId51"/>
    <p:sldLayoutId id="2147483880" r:id="rId5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tx1"/>
          </a:solidFill>
          <a:latin typeface="Verdana Regular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Verdana Regular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Verdana Regular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Verdana Regular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Verdana Regular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Verdana Regular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13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3.bin"/><Relationship Id="rId4" Type="http://schemas.openxmlformats.org/officeDocument/2006/relationships/slideLayout" Target="../slideLayouts/slideLayout4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29.xml"/><Relationship Id="rId7" Type="http://schemas.openxmlformats.org/officeDocument/2006/relationships/image" Target="../media/image1.emf"/><Relationship Id="rId2" Type="http://schemas.openxmlformats.org/officeDocument/2006/relationships/tags" Target="../tags/tag128.xml"/><Relationship Id="rId1" Type="http://schemas.openxmlformats.org/officeDocument/2006/relationships/vmlDrawing" Target="../drawings/vmlDrawing63.vml"/><Relationship Id="rId6" Type="http://schemas.openxmlformats.org/officeDocument/2006/relationships/oleObject" Target="../embeddings/oleObject56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131.xml"/><Relationship Id="rId7" Type="http://schemas.openxmlformats.org/officeDocument/2006/relationships/image" Target="../media/image1.emf"/><Relationship Id="rId2" Type="http://schemas.openxmlformats.org/officeDocument/2006/relationships/tags" Target="../tags/tag130.xml"/><Relationship Id="rId1" Type="http://schemas.openxmlformats.org/officeDocument/2006/relationships/vmlDrawing" Target="../drawings/vmlDrawing64.vml"/><Relationship Id="rId6" Type="http://schemas.openxmlformats.org/officeDocument/2006/relationships/oleObject" Target="../embeddings/oleObject56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0.png"/><Relationship Id="rId3" Type="http://schemas.openxmlformats.org/officeDocument/2006/relationships/tags" Target="../tags/tag133.xml"/><Relationship Id="rId7" Type="http://schemas.openxmlformats.org/officeDocument/2006/relationships/image" Target="../media/image1.emf"/><Relationship Id="rId2" Type="http://schemas.openxmlformats.org/officeDocument/2006/relationships/tags" Target="../tags/tag132.xml"/><Relationship Id="rId1" Type="http://schemas.openxmlformats.org/officeDocument/2006/relationships/vmlDrawing" Target="../drawings/vmlDrawing65.vml"/><Relationship Id="rId6" Type="http://schemas.openxmlformats.org/officeDocument/2006/relationships/oleObject" Target="../embeddings/oleObject55.bin"/><Relationship Id="rId5" Type="http://schemas.openxmlformats.org/officeDocument/2006/relationships/notesSlide" Target="../notesSlides/notesSlide11.xml"/><Relationship Id="rId10" Type="http://schemas.openxmlformats.org/officeDocument/2006/relationships/image" Target="../media/image14.pn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130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135.xml"/><Relationship Id="rId7" Type="http://schemas.openxmlformats.org/officeDocument/2006/relationships/image" Target="../media/image1.emf"/><Relationship Id="rId2" Type="http://schemas.openxmlformats.org/officeDocument/2006/relationships/tags" Target="../tags/tag134.xml"/><Relationship Id="rId1" Type="http://schemas.openxmlformats.org/officeDocument/2006/relationships/vmlDrawing" Target="../drawings/vmlDrawing66.vml"/><Relationship Id="rId6" Type="http://schemas.openxmlformats.org/officeDocument/2006/relationships/oleObject" Target="../embeddings/oleObject56.bin"/><Relationship Id="rId5" Type="http://schemas.openxmlformats.org/officeDocument/2006/relationships/notesSlide" Target="../notesSlides/notesSlide12.xml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12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7" Type="http://schemas.openxmlformats.org/officeDocument/2006/relationships/image" Target="../media/image1.emf"/><Relationship Id="rId2" Type="http://schemas.openxmlformats.org/officeDocument/2006/relationships/tags" Target="../tags/tag136.xml"/><Relationship Id="rId1" Type="http://schemas.openxmlformats.org/officeDocument/2006/relationships/vmlDrawing" Target="../drawings/vmlDrawing67.vml"/><Relationship Id="rId6" Type="http://schemas.openxmlformats.org/officeDocument/2006/relationships/oleObject" Target="../embeddings/oleObject56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139.xml"/><Relationship Id="rId7" Type="http://schemas.openxmlformats.org/officeDocument/2006/relationships/image" Target="../media/image1.emf"/><Relationship Id="rId2" Type="http://schemas.openxmlformats.org/officeDocument/2006/relationships/tags" Target="../tags/tag138.xml"/><Relationship Id="rId1" Type="http://schemas.openxmlformats.org/officeDocument/2006/relationships/vmlDrawing" Target="../drawings/vmlDrawing68.vml"/><Relationship Id="rId6" Type="http://schemas.openxmlformats.org/officeDocument/2006/relationships/oleObject" Target="../embeddings/oleObject56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1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141.xml"/><Relationship Id="rId7" Type="http://schemas.openxmlformats.org/officeDocument/2006/relationships/image" Target="../media/image1.emf"/><Relationship Id="rId2" Type="http://schemas.openxmlformats.org/officeDocument/2006/relationships/tags" Target="../tags/tag140.xml"/><Relationship Id="rId1" Type="http://schemas.openxmlformats.org/officeDocument/2006/relationships/vmlDrawing" Target="../drawings/vmlDrawing69.vml"/><Relationship Id="rId6" Type="http://schemas.openxmlformats.org/officeDocument/2006/relationships/oleObject" Target="../embeddings/oleObject56.bin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1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143.xml"/><Relationship Id="rId7" Type="http://schemas.openxmlformats.org/officeDocument/2006/relationships/image" Target="../media/image1.emf"/><Relationship Id="rId2" Type="http://schemas.openxmlformats.org/officeDocument/2006/relationships/tags" Target="../tags/tag142.xml"/><Relationship Id="rId1" Type="http://schemas.openxmlformats.org/officeDocument/2006/relationships/vmlDrawing" Target="../drawings/vmlDrawing70.vml"/><Relationship Id="rId6" Type="http://schemas.openxmlformats.org/officeDocument/2006/relationships/oleObject" Target="../embeddings/oleObject56.bin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4.xml"/><Relationship Id="rId7" Type="http://schemas.openxmlformats.org/officeDocument/2006/relationships/image" Target="../media/image5.png"/><Relationship Id="rId2" Type="http://schemas.openxmlformats.org/officeDocument/2006/relationships/tags" Target="../tags/tag114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4.bin"/><Relationship Id="rId4" Type="http://schemas.openxmlformats.org/officeDocument/2006/relationships/notesSlide" Target="../notesSlides/notesSlide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16.xml"/><Relationship Id="rId7" Type="http://schemas.openxmlformats.org/officeDocument/2006/relationships/image" Target="../media/image1.emf"/><Relationship Id="rId2" Type="http://schemas.openxmlformats.org/officeDocument/2006/relationships/tags" Target="../tags/tag115.xml"/><Relationship Id="rId1" Type="http://schemas.openxmlformats.org/officeDocument/2006/relationships/vmlDrawing" Target="../drawings/vmlDrawing56.vml"/><Relationship Id="rId6" Type="http://schemas.openxmlformats.org/officeDocument/2006/relationships/oleObject" Target="../embeddings/oleObject55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9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118.xml"/><Relationship Id="rId7" Type="http://schemas.openxmlformats.org/officeDocument/2006/relationships/image" Target="../media/image1.emf"/><Relationship Id="rId2" Type="http://schemas.openxmlformats.org/officeDocument/2006/relationships/tags" Target="../tags/tag117.xml"/><Relationship Id="rId1" Type="http://schemas.openxmlformats.org/officeDocument/2006/relationships/vmlDrawing" Target="../drawings/vmlDrawing57.vml"/><Relationship Id="rId6" Type="http://schemas.openxmlformats.org/officeDocument/2006/relationships/oleObject" Target="../embeddings/oleObject55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93.xml"/><Relationship Id="rId9" Type="http://schemas.openxmlformats.org/officeDocument/2006/relationships/image" Target="../media/image7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20.xml"/><Relationship Id="rId7" Type="http://schemas.openxmlformats.org/officeDocument/2006/relationships/image" Target="../media/image1.emf"/><Relationship Id="rId2" Type="http://schemas.openxmlformats.org/officeDocument/2006/relationships/tags" Target="../tags/tag119.xml"/><Relationship Id="rId1" Type="http://schemas.openxmlformats.org/officeDocument/2006/relationships/vmlDrawing" Target="../drawings/vmlDrawing58.vml"/><Relationship Id="rId6" Type="http://schemas.openxmlformats.org/officeDocument/2006/relationships/oleObject" Target="../embeddings/oleObject55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93.xml"/><Relationship Id="rId9" Type="http://schemas.openxmlformats.org/officeDocument/2006/relationships/image" Target="../media/image9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122.xml"/><Relationship Id="rId7" Type="http://schemas.openxmlformats.org/officeDocument/2006/relationships/image" Target="../media/image1.emf"/><Relationship Id="rId2" Type="http://schemas.openxmlformats.org/officeDocument/2006/relationships/tags" Target="../tags/tag121.xml"/><Relationship Id="rId1" Type="http://schemas.openxmlformats.org/officeDocument/2006/relationships/vmlDrawing" Target="../drawings/vmlDrawing59.vml"/><Relationship Id="rId6" Type="http://schemas.openxmlformats.org/officeDocument/2006/relationships/oleObject" Target="../embeddings/oleObject55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9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124.xml"/><Relationship Id="rId7" Type="http://schemas.openxmlformats.org/officeDocument/2006/relationships/image" Target="../media/image1.emf"/><Relationship Id="rId2" Type="http://schemas.openxmlformats.org/officeDocument/2006/relationships/tags" Target="../tags/tag123.xml"/><Relationship Id="rId1" Type="http://schemas.openxmlformats.org/officeDocument/2006/relationships/vmlDrawing" Target="../drawings/vmlDrawing60.vml"/><Relationship Id="rId6" Type="http://schemas.openxmlformats.org/officeDocument/2006/relationships/oleObject" Target="../embeddings/oleObject55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9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7" Type="http://schemas.openxmlformats.org/officeDocument/2006/relationships/image" Target="../media/image5.png"/><Relationship Id="rId2" Type="http://schemas.openxmlformats.org/officeDocument/2006/relationships/tags" Target="../tags/tag125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4.bin"/><Relationship Id="rId4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27.xml"/><Relationship Id="rId7" Type="http://schemas.openxmlformats.org/officeDocument/2006/relationships/image" Target="../media/image1.emf"/><Relationship Id="rId2" Type="http://schemas.openxmlformats.org/officeDocument/2006/relationships/tags" Target="../tags/tag126.xml"/><Relationship Id="rId1" Type="http://schemas.openxmlformats.org/officeDocument/2006/relationships/vmlDrawing" Target="../drawings/vmlDrawing62.vml"/><Relationship Id="rId6" Type="http://schemas.openxmlformats.org/officeDocument/2006/relationships/oleObject" Target="../embeddings/oleObject55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76792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2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7" name="Objeto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tângulo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73215" y="1915481"/>
            <a:ext cx="9634271" cy="1086338"/>
          </a:xfrm>
        </p:spPr>
        <p:txBody>
          <a:bodyPr vert="horz">
            <a:normAutofit/>
          </a:bodyPr>
          <a:lstStyle/>
          <a:p>
            <a:r>
              <a:rPr lang="en-US" dirty="0"/>
              <a:t>EXAMEN CIENCIA DE DATOS</a:t>
            </a:r>
            <a:br>
              <a:rPr lang="en-US" dirty="0"/>
            </a:br>
            <a:r>
              <a:rPr lang="en-US" dirty="0"/>
              <a:t>L3/L4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78164" y="2971844"/>
            <a:ext cx="9618436" cy="387916"/>
          </a:xfrm>
        </p:spPr>
        <p:txBody>
          <a:bodyPr/>
          <a:lstStyle/>
          <a:p>
            <a:r>
              <a:rPr lang="en-US" sz="1600" dirty="0"/>
              <a:t>Agosto 2021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6"/>
          </p:nvPr>
        </p:nvSpPr>
        <p:spPr/>
        <p:txBody>
          <a:bodyPr/>
          <a:lstStyle/>
          <a:p>
            <a:r>
              <a:rPr lang="en-US" dirty="0"/>
              <a:t>HENRY SANCHEZ ALVARADO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157808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to 4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0" name="Slide do think-cell" r:id="rId6" imgW="270" imgH="270" progId="TCLayout.ActiveDocument.1">
                  <p:embed/>
                </p:oleObj>
              </mc:Choice>
              <mc:Fallback>
                <p:oleObj name="Slide do think-cell" r:id="rId6" imgW="270" imgH="270" progId="TCLayout.ActiveDocument.1">
                  <p:embed/>
                  <p:pic>
                    <p:nvPicPr>
                      <p:cNvPr id="49" name="Objeto 4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Retângulo 4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US" sz="16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47173" y="0"/>
            <a:ext cx="8719700" cy="540000"/>
          </a:xfrm>
        </p:spPr>
        <p:txBody>
          <a:bodyPr vert="horz" anchor="ctr">
            <a:noAutofit/>
          </a:bodyPr>
          <a:lstStyle/>
          <a:p>
            <a:r>
              <a:rPr lang="en-US" sz="1400" dirty="0">
                <a:latin typeface="Verdana" panose="020B0604030504040204" pitchFamily="34" charset="0"/>
              </a:rPr>
              <a:t>a. ¿de </a:t>
            </a:r>
            <a:r>
              <a:rPr lang="en-US" sz="1400" dirty="0" err="1">
                <a:latin typeface="Verdana" panose="020B0604030504040204" pitchFamily="34" charset="0"/>
              </a:rPr>
              <a:t>qué</a:t>
            </a:r>
            <a:r>
              <a:rPr lang="en-US" sz="1400" dirty="0">
                <a:latin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</a:rPr>
              <a:t>tipo</a:t>
            </a:r>
            <a:r>
              <a:rPr lang="en-US" sz="1400" dirty="0">
                <a:latin typeface="Verdana" panose="020B0604030504040204" pitchFamily="34" charset="0"/>
              </a:rPr>
              <a:t> de </a:t>
            </a:r>
            <a:r>
              <a:rPr lang="en-US" sz="1400" dirty="0" err="1">
                <a:latin typeface="Verdana" panose="020B0604030504040204" pitchFamily="34" charset="0"/>
              </a:rPr>
              <a:t>problema</a:t>
            </a:r>
            <a:r>
              <a:rPr lang="en-US" sz="1400" dirty="0">
                <a:latin typeface="Verdana" panose="020B0604030504040204" pitchFamily="34" charset="0"/>
              </a:rPr>
              <a:t> se </a:t>
            </a:r>
            <a:r>
              <a:rPr lang="en-US" sz="1400" dirty="0" err="1">
                <a:latin typeface="Verdana" panose="020B0604030504040204" pitchFamily="34" charset="0"/>
              </a:rPr>
              <a:t>trata</a:t>
            </a:r>
            <a:r>
              <a:rPr lang="en-US" sz="1400" dirty="0">
                <a:latin typeface="Verdana" panose="020B0604030504040204" pitchFamily="34" charset="0"/>
              </a:rPr>
              <a:t>?</a:t>
            </a:r>
          </a:p>
        </p:txBody>
      </p:sp>
      <p:sp>
        <p:nvSpPr>
          <p:cNvPr id="52" name="Retângulo 51">
            <a:extLst>
              <a:ext uri="{FF2B5EF4-FFF2-40B4-BE49-F238E27FC236}">
                <a16:creationId xmlns:a16="http://schemas.microsoft.com/office/drawing/2014/main" id="{DF06125D-1833-4D50-A3C4-A16E0858C03F}"/>
              </a:ext>
            </a:extLst>
          </p:cNvPr>
          <p:cNvSpPr/>
          <p:nvPr/>
        </p:nvSpPr>
        <p:spPr>
          <a:xfrm>
            <a:off x="978818" y="998287"/>
            <a:ext cx="8221166" cy="520656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 cap="flat" cmpd="sng" algn="ctr">
            <a:solidFill>
              <a:srgbClr val="808080"/>
            </a:solidFill>
            <a:prstDash val="lgDash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53" name="CaixaDeTexto 52">
            <a:extLst>
              <a:ext uri="{FF2B5EF4-FFF2-40B4-BE49-F238E27FC236}">
                <a16:creationId xmlns:a16="http://schemas.microsoft.com/office/drawing/2014/main" id="{22C9B409-9B29-4EDE-B838-2E596B322BD5}"/>
              </a:ext>
            </a:extLst>
          </p:cNvPr>
          <p:cNvSpPr txBox="1"/>
          <p:nvPr/>
        </p:nvSpPr>
        <p:spPr>
          <a:xfrm>
            <a:off x="1361654" y="1469864"/>
            <a:ext cx="7399791" cy="401648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defRPr sz="1500" b="1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marL="285750" indent="-285750" algn="l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Se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trata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de un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problema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investigación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operacione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en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la que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buscamo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minimizar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los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costo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reposición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de paletas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en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las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máquina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de La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Michoacana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sujeto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a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alguna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restriccione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y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objetivo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285750" indent="-285750" algn="l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En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el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caso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se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menciona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que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existe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información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histórica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diaria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desde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hace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5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año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entonce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surge la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posibilidad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de utilizer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modelo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de Series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Temporale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modelo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GARCH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debido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a la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varibilidad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de los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dato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).</a:t>
            </a:r>
          </a:p>
          <a:p>
            <a:pPr marL="285750" indent="-285750" algn="l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Debido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a que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contamo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con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dato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diario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y se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requieren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indicadore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para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tomar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decisione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en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el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día  a día,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debemo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considerar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la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posibilidad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aplicar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modelo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segmentación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o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clasificación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para los CLIENTES, UBICACIÓN DE MÁQUINAS, ETC.</a:t>
            </a:r>
          </a:p>
          <a:p>
            <a:pPr marL="285750" indent="-285750" algn="l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Se debe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buscar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un balance para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máquina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entre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costo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transporte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y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costo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energia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285750" indent="-285750" algn="l">
              <a:spcAft>
                <a:spcPts val="1200"/>
              </a:spcAft>
              <a:buFont typeface="Wingdings" panose="05000000000000000000" pitchFamily="2" charset="2"/>
              <a:buChar char="§"/>
            </a:pPr>
            <a:endParaRPr lang="en-US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l">
              <a:spcAft>
                <a:spcPts val="1200"/>
              </a:spcAft>
              <a:buFont typeface="Wingdings" panose="05000000000000000000" pitchFamily="2" charset="2"/>
              <a:buChar char="§"/>
            </a:pPr>
            <a:endParaRPr lang="en-US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l">
              <a:spcAft>
                <a:spcPts val="1200"/>
              </a:spcAft>
              <a:buFont typeface="Wingdings" panose="05000000000000000000" pitchFamily="2" charset="2"/>
              <a:buChar char="§"/>
            </a:pPr>
            <a:endParaRPr lang="en-US" b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503048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to 4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4" name="Slide do think-cell" r:id="rId6" imgW="270" imgH="270" progId="TCLayout.ActiveDocument.1">
                  <p:embed/>
                </p:oleObj>
              </mc:Choice>
              <mc:Fallback>
                <p:oleObj name="Slide do think-cell" r:id="rId6" imgW="270" imgH="270" progId="TCLayout.ActiveDocument.1">
                  <p:embed/>
                  <p:pic>
                    <p:nvPicPr>
                      <p:cNvPr id="49" name="Objeto 4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Retângulo 4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US" sz="16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47173" y="0"/>
            <a:ext cx="8719700" cy="540000"/>
          </a:xfrm>
        </p:spPr>
        <p:txBody>
          <a:bodyPr vert="horz" anchor="ctr">
            <a:noAutofit/>
          </a:bodyPr>
          <a:lstStyle/>
          <a:p>
            <a:r>
              <a:rPr lang="en-US" sz="1400" dirty="0" err="1">
                <a:latin typeface="Verdana" panose="020B0604030504040204" pitchFamily="34" charset="0"/>
              </a:rPr>
              <a:t>Establecemos</a:t>
            </a:r>
            <a:r>
              <a:rPr lang="en-US" sz="1400" dirty="0">
                <a:latin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</a:rPr>
              <a:t>Objetivos</a:t>
            </a:r>
            <a:endParaRPr lang="en-US" sz="1400" dirty="0">
              <a:latin typeface="Verdana" panose="020B0604030504040204" pitchFamily="34" charset="0"/>
            </a:endParaRPr>
          </a:p>
        </p:txBody>
      </p:sp>
      <p:sp>
        <p:nvSpPr>
          <p:cNvPr id="24" name="Retângulo 23">
            <a:extLst>
              <a:ext uri="{FF2B5EF4-FFF2-40B4-BE49-F238E27FC236}">
                <a16:creationId xmlns:a16="http://schemas.microsoft.com/office/drawing/2014/main" id="{852B8C29-B3FD-4F47-9B01-2D97B0A68683}"/>
              </a:ext>
            </a:extLst>
          </p:cNvPr>
          <p:cNvSpPr/>
          <p:nvPr/>
        </p:nvSpPr>
        <p:spPr>
          <a:xfrm>
            <a:off x="633592" y="1625293"/>
            <a:ext cx="4905444" cy="3801012"/>
          </a:xfrm>
          <a:prstGeom prst="rect">
            <a:avLst/>
          </a:prstGeom>
          <a:noFill/>
          <a:ln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lnSpc>
                <a:spcPts val="2400"/>
              </a:lnSpc>
              <a:spcAft>
                <a:spcPts val="1200"/>
              </a:spcAft>
              <a:buFontTx/>
              <a:buChar char="-"/>
            </a:pPr>
            <a:r>
              <a:rPr lang="en-US" sz="1600" b="1" dirty="0">
                <a:solidFill>
                  <a:schemeClr val="accent1"/>
                </a:solidFill>
              </a:rPr>
              <a:t>4000 </a:t>
            </a:r>
            <a:r>
              <a:rPr lang="en-US" sz="1600" dirty="0" err="1">
                <a:solidFill>
                  <a:schemeClr val="tx1"/>
                </a:solidFill>
              </a:rPr>
              <a:t>máquinas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instaladas</a:t>
            </a:r>
            <a:r>
              <a:rPr lang="en-US" sz="1600" dirty="0">
                <a:solidFill>
                  <a:schemeClr val="tx1"/>
                </a:solidFill>
              </a:rPr>
              <a:t>. </a:t>
            </a:r>
          </a:p>
          <a:p>
            <a:pPr marL="285750" indent="-285750">
              <a:lnSpc>
                <a:spcPts val="2400"/>
              </a:lnSpc>
              <a:spcAft>
                <a:spcPts val="1200"/>
              </a:spcAft>
              <a:buFontTx/>
              <a:buChar char="-"/>
            </a:pPr>
            <a:r>
              <a:rPr lang="en-US" sz="1600" b="1" dirty="0">
                <a:solidFill>
                  <a:schemeClr val="accent1"/>
                </a:solidFill>
              </a:rPr>
              <a:t>1 MXN</a:t>
            </a:r>
            <a:r>
              <a:rPr lang="en-US" sz="1600" b="1" dirty="0">
                <a:solidFill>
                  <a:schemeClr val="tx1"/>
                </a:solidFill>
              </a:rPr>
              <a:t> </a:t>
            </a:r>
            <a:r>
              <a:rPr lang="en-US" sz="1600" dirty="0">
                <a:solidFill>
                  <a:schemeClr val="tx1"/>
                </a:solidFill>
              </a:rPr>
              <a:t>es </a:t>
            </a:r>
            <a:r>
              <a:rPr lang="en-US" sz="1600" dirty="0" err="1">
                <a:solidFill>
                  <a:schemeClr val="tx1"/>
                </a:solidFill>
              </a:rPr>
              <a:t>el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costo</a:t>
            </a:r>
            <a:r>
              <a:rPr lang="en-US" sz="1600" dirty="0">
                <a:solidFill>
                  <a:schemeClr val="tx1"/>
                </a:solidFill>
              </a:rPr>
              <a:t> de </a:t>
            </a:r>
            <a:r>
              <a:rPr lang="en-US" sz="1600" dirty="0" err="1">
                <a:solidFill>
                  <a:schemeClr val="tx1"/>
                </a:solidFill>
              </a:rPr>
              <a:t>mantener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cada</a:t>
            </a:r>
            <a:r>
              <a:rPr lang="en-US" sz="1600" dirty="0">
                <a:solidFill>
                  <a:schemeClr val="tx1"/>
                </a:solidFill>
              </a:rPr>
              <a:t> paleta.</a:t>
            </a:r>
            <a:r>
              <a:rPr lang="en-US" sz="1600" b="1" dirty="0">
                <a:solidFill>
                  <a:schemeClr val="accent1"/>
                </a:solidFill>
              </a:rPr>
              <a:t> </a:t>
            </a:r>
            <a:endParaRPr lang="en-US" sz="1600" dirty="0">
              <a:solidFill>
                <a:schemeClr val="tx1"/>
              </a:solidFill>
            </a:endParaRPr>
          </a:p>
          <a:p>
            <a:pPr marL="285750" indent="-285750">
              <a:lnSpc>
                <a:spcPts val="2400"/>
              </a:lnSpc>
              <a:spcAft>
                <a:spcPts val="1200"/>
              </a:spcAft>
              <a:buFontTx/>
              <a:buChar char="-"/>
            </a:pPr>
            <a:r>
              <a:rPr lang="en-US" sz="1600" b="1" dirty="0">
                <a:solidFill>
                  <a:schemeClr val="accent1"/>
                </a:solidFill>
              </a:rPr>
              <a:t>100 MXN</a:t>
            </a:r>
            <a:r>
              <a:rPr lang="en-US" sz="1600" b="1" dirty="0">
                <a:solidFill>
                  <a:schemeClr val="tx1"/>
                </a:solidFill>
              </a:rPr>
              <a:t> </a:t>
            </a:r>
            <a:r>
              <a:rPr lang="es-ES" sz="1600" dirty="0">
                <a:solidFill>
                  <a:schemeClr val="tx1"/>
                </a:solidFill>
              </a:rPr>
              <a:t>costo para reponer cada máquina.</a:t>
            </a:r>
          </a:p>
          <a:p>
            <a:pPr marL="285750" indent="-285750">
              <a:lnSpc>
                <a:spcPts val="2400"/>
              </a:lnSpc>
              <a:spcAft>
                <a:spcPts val="1200"/>
              </a:spcAft>
              <a:buFontTx/>
              <a:buChar char="-"/>
            </a:pPr>
            <a:r>
              <a:rPr lang="en-US" sz="1600" b="1" dirty="0">
                <a:solidFill>
                  <a:schemeClr val="accent1"/>
                </a:solidFill>
              </a:rPr>
              <a:t>OBJETIVOS:</a:t>
            </a:r>
          </a:p>
          <a:p>
            <a:pPr marL="742950" lvl="1" indent="-285750">
              <a:lnSpc>
                <a:spcPts val="2400"/>
              </a:lnSpc>
              <a:spcAft>
                <a:spcPts val="1200"/>
              </a:spcAft>
              <a:buFontTx/>
              <a:buChar char="-"/>
            </a:pPr>
            <a:r>
              <a:rPr lang="en-US" sz="1600" b="1" dirty="0" err="1">
                <a:solidFill>
                  <a:schemeClr val="accent1"/>
                </a:solidFill>
              </a:rPr>
              <a:t>Mínimizar</a:t>
            </a:r>
            <a:r>
              <a:rPr lang="en-US" sz="1600" b="1" dirty="0">
                <a:solidFill>
                  <a:schemeClr val="accent1"/>
                </a:solidFill>
              </a:rPr>
              <a:t> </a:t>
            </a:r>
            <a:r>
              <a:rPr lang="en-US" sz="1600" b="1" dirty="0" err="1">
                <a:solidFill>
                  <a:schemeClr val="accent1"/>
                </a:solidFill>
              </a:rPr>
              <a:t>costo</a:t>
            </a:r>
            <a:r>
              <a:rPr lang="en-US" sz="1600" b="1" dirty="0">
                <a:solidFill>
                  <a:schemeClr val="accent1"/>
                </a:solidFill>
              </a:rPr>
              <a:t> de </a:t>
            </a:r>
            <a:r>
              <a:rPr lang="en-US" sz="1600" b="1" dirty="0" err="1">
                <a:solidFill>
                  <a:schemeClr val="accent1"/>
                </a:solidFill>
              </a:rPr>
              <a:t>transporte</a:t>
            </a:r>
            <a:r>
              <a:rPr lang="en-US" sz="1600" b="1" dirty="0">
                <a:solidFill>
                  <a:schemeClr val="accent1"/>
                </a:solidFill>
              </a:rPr>
              <a:t> y </a:t>
            </a:r>
            <a:r>
              <a:rPr lang="en-US" sz="1600" b="1" dirty="0" err="1">
                <a:solidFill>
                  <a:schemeClr val="accent1"/>
                </a:solidFill>
              </a:rPr>
              <a:t>energía</a:t>
            </a:r>
            <a:endParaRPr lang="en-US" sz="1600" b="1" dirty="0">
              <a:solidFill>
                <a:schemeClr val="accent1"/>
              </a:solidFill>
            </a:endParaRPr>
          </a:p>
          <a:p>
            <a:pPr marL="742950" lvl="1" indent="-285750">
              <a:lnSpc>
                <a:spcPts val="2400"/>
              </a:lnSpc>
              <a:spcAft>
                <a:spcPts val="1200"/>
              </a:spcAft>
              <a:buFontTx/>
              <a:buChar char="-"/>
            </a:pPr>
            <a:r>
              <a:rPr lang="en-US" sz="1600" b="1" dirty="0">
                <a:solidFill>
                  <a:schemeClr val="tx1"/>
                </a:solidFill>
              </a:rPr>
              <a:t> </a:t>
            </a:r>
            <a:r>
              <a:rPr lang="es-ES" sz="1600" dirty="0">
                <a:solidFill>
                  <a:schemeClr val="tx1"/>
                </a:solidFill>
              </a:rPr>
              <a:t>Mantener días/maquina sin disponibilidad menor al 2%.</a:t>
            </a:r>
          </a:p>
          <a:p>
            <a:pPr lvl="1">
              <a:lnSpc>
                <a:spcPts val="2400"/>
              </a:lnSpc>
              <a:spcAft>
                <a:spcPts val="1200"/>
              </a:spcAft>
            </a:pPr>
            <a:r>
              <a:rPr lang="en-US" sz="1600" b="1" dirty="0">
                <a:solidFill>
                  <a:schemeClr val="accent1"/>
                </a:solidFill>
              </a:rPr>
              <a:t>5 </a:t>
            </a:r>
            <a:r>
              <a:rPr lang="en-US" sz="1600" b="1" dirty="0" err="1">
                <a:solidFill>
                  <a:schemeClr val="accent1"/>
                </a:solidFill>
              </a:rPr>
              <a:t>años</a:t>
            </a:r>
            <a:r>
              <a:rPr lang="en-US" sz="1600" b="1" dirty="0">
                <a:solidFill>
                  <a:schemeClr val="accent1"/>
                </a:solidFill>
              </a:rPr>
              <a:t> de </a:t>
            </a:r>
            <a:r>
              <a:rPr lang="en-US" sz="1600" b="1" dirty="0">
                <a:solidFill>
                  <a:schemeClr val="tx1"/>
                </a:solidFill>
              </a:rPr>
              <a:t> </a:t>
            </a:r>
            <a:r>
              <a:rPr lang="es-ES" sz="1600" dirty="0">
                <a:solidFill>
                  <a:schemeClr val="tx1"/>
                </a:solidFill>
              </a:rPr>
              <a:t>información histórica.</a:t>
            </a:r>
          </a:p>
          <a:p>
            <a:pPr lvl="1">
              <a:lnSpc>
                <a:spcPts val="2400"/>
              </a:lnSpc>
              <a:spcAft>
                <a:spcPts val="1200"/>
              </a:spcAft>
            </a:pPr>
            <a:endParaRPr lang="es-ES" sz="1600" dirty="0">
              <a:solidFill>
                <a:schemeClr val="tx1"/>
              </a:solidFill>
            </a:endParaRPr>
          </a:p>
          <a:p>
            <a:pPr marL="285750" indent="-285750">
              <a:lnSpc>
                <a:spcPts val="2400"/>
              </a:lnSpc>
              <a:spcAft>
                <a:spcPts val="1200"/>
              </a:spcAft>
              <a:buFontTx/>
              <a:buChar char="-"/>
            </a:pPr>
            <a:endParaRPr lang="es-ES" sz="1600" dirty="0">
              <a:solidFill>
                <a:schemeClr val="tx1"/>
              </a:solidFill>
            </a:endParaRPr>
          </a:p>
          <a:p>
            <a:pPr marL="285750" indent="-285750">
              <a:lnSpc>
                <a:spcPts val="2400"/>
              </a:lnSpc>
              <a:spcAft>
                <a:spcPts val="1200"/>
              </a:spcAft>
              <a:buFontTx/>
              <a:buChar char="-"/>
            </a:pPr>
            <a:endParaRPr lang="pt-BR" sz="1600" dirty="0">
              <a:solidFill>
                <a:schemeClr val="tx1"/>
              </a:solidFill>
            </a:endParaRPr>
          </a:p>
        </p:txBody>
      </p:sp>
      <p:sp>
        <p:nvSpPr>
          <p:cNvPr id="42" name="CaixaDeTexto 41">
            <a:extLst>
              <a:ext uri="{FF2B5EF4-FFF2-40B4-BE49-F238E27FC236}">
                <a16:creationId xmlns:a16="http://schemas.microsoft.com/office/drawing/2014/main" id="{B520FA05-19D4-45B1-A258-AF60E502EC6A}"/>
              </a:ext>
            </a:extLst>
          </p:cNvPr>
          <p:cNvSpPr txBox="1"/>
          <p:nvPr/>
        </p:nvSpPr>
        <p:spPr>
          <a:xfrm>
            <a:off x="1436356" y="1211418"/>
            <a:ext cx="32159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b="1" dirty="0">
                <a:latin typeface="Verdana" panose="020B0604030504040204" pitchFamily="34" charset="0"/>
                <a:ea typeface="Verdana" panose="020B0604030504040204" pitchFamily="34" charset="0"/>
              </a:rPr>
              <a:t>Diagnóstico y objetivos</a:t>
            </a:r>
          </a:p>
        </p:txBody>
      </p:sp>
      <p:sp>
        <p:nvSpPr>
          <p:cNvPr id="50" name="Triângulo isósceles 49">
            <a:extLst>
              <a:ext uri="{FF2B5EF4-FFF2-40B4-BE49-F238E27FC236}">
                <a16:creationId xmlns:a16="http://schemas.microsoft.com/office/drawing/2014/main" id="{E612BE4C-ECCB-4011-BB87-DD277CEB37B5}"/>
              </a:ext>
            </a:extLst>
          </p:cNvPr>
          <p:cNvSpPr/>
          <p:nvPr/>
        </p:nvSpPr>
        <p:spPr>
          <a:xfrm rot="5400000">
            <a:off x="3807092" y="3212187"/>
            <a:ext cx="4609805" cy="391600"/>
          </a:xfrm>
          <a:prstGeom prst="triangle">
            <a:avLst>
              <a:gd name="adj" fmla="val 50212"/>
            </a:avLst>
          </a:prstGeom>
          <a:solidFill>
            <a:srgbClr val="FFFFFF">
              <a:lumMod val="8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" name="Retângulo 50">
            <a:extLst>
              <a:ext uri="{FF2B5EF4-FFF2-40B4-BE49-F238E27FC236}">
                <a16:creationId xmlns:a16="http://schemas.microsoft.com/office/drawing/2014/main" id="{84265DCE-C3CC-49FC-8500-EC91178BC962}"/>
              </a:ext>
            </a:extLst>
          </p:cNvPr>
          <p:cNvSpPr/>
          <p:nvPr/>
        </p:nvSpPr>
        <p:spPr>
          <a:xfrm>
            <a:off x="493024" y="1103084"/>
            <a:ext cx="5237931" cy="4609805"/>
          </a:xfrm>
          <a:prstGeom prst="rect">
            <a:avLst/>
          </a:prstGeom>
          <a:noFill/>
          <a:ln w="9525" cap="flat" cmpd="sng" algn="ctr">
            <a:solidFill>
              <a:srgbClr val="808080"/>
            </a:solidFill>
            <a:prstDash val="lgDash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52" name="Retângulo 51">
            <a:extLst>
              <a:ext uri="{FF2B5EF4-FFF2-40B4-BE49-F238E27FC236}">
                <a16:creationId xmlns:a16="http://schemas.microsoft.com/office/drawing/2014/main" id="{DF06125D-1833-4D50-A3C4-A16E0858C03F}"/>
              </a:ext>
            </a:extLst>
          </p:cNvPr>
          <p:cNvSpPr/>
          <p:nvPr/>
        </p:nvSpPr>
        <p:spPr>
          <a:xfrm>
            <a:off x="6717425" y="2186431"/>
            <a:ext cx="5117182" cy="244311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rgbClr val="808080"/>
            </a:solidFill>
            <a:prstDash val="lgDash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53" name="CaixaDeTexto 52">
            <a:extLst>
              <a:ext uri="{FF2B5EF4-FFF2-40B4-BE49-F238E27FC236}">
                <a16:creationId xmlns:a16="http://schemas.microsoft.com/office/drawing/2014/main" id="{22C9B409-9B29-4EDE-B838-2E596B322BD5}"/>
              </a:ext>
            </a:extLst>
          </p:cNvPr>
          <p:cNvSpPr txBox="1"/>
          <p:nvPr/>
        </p:nvSpPr>
        <p:spPr>
          <a:xfrm>
            <a:off x="6717425" y="2907732"/>
            <a:ext cx="4840983" cy="178510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defRPr sz="1500" b="1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marL="285750" indent="-285750" algn="l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Llenar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la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maquina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a tope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tiene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costo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altos de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energia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y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costo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bajo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transporte</a:t>
            </a:r>
            <a:endParaRPr lang="en-US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l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Llenar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las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maquina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según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la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necesidad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del día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siguiente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tiene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un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costo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energía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bajo y un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coste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transporte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alto</a:t>
            </a:r>
          </a:p>
          <a:p>
            <a:pPr marL="285750" indent="-285750" algn="l">
              <a:spcAft>
                <a:spcPts val="1200"/>
              </a:spcAft>
              <a:buFont typeface="Wingdings" panose="05000000000000000000" pitchFamily="2" charset="2"/>
              <a:buChar char="§"/>
            </a:pPr>
            <a:endParaRPr lang="en-US" b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6" name="Retângulo 45">
            <a:extLst>
              <a:ext uri="{FF2B5EF4-FFF2-40B4-BE49-F238E27FC236}">
                <a16:creationId xmlns:a16="http://schemas.microsoft.com/office/drawing/2014/main" id="{803DDEBA-B15E-4BF2-833C-26461695B0E5}"/>
              </a:ext>
            </a:extLst>
          </p:cNvPr>
          <p:cNvSpPr/>
          <p:nvPr/>
        </p:nvSpPr>
        <p:spPr>
          <a:xfrm>
            <a:off x="8711598" y="2362416"/>
            <a:ext cx="112883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pt-BR" b="1" dirty="0" err="1">
                <a:latin typeface="Verdana" panose="020B0604030504040204" pitchFamily="34" charset="0"/>
                <a:ea typeface="Verdana" panose="020B0604030504040204" pitchFamily="34" charset="0"/>
              </a:rPr>
              <a:t>Hechos</a:t>
            </a:r>
            <a:endParaRPr lang="pt-BR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28720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to 4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8" name="Slide do think-cell" r:id="rId6" imgW="270" imgH="270" progId="TCLayout.ActiveDocument.1">
                  <p:embed/>
                </p:oleObj>
              </mc:Choice>
              <mc:Fallback>
                <p:oleObj name="Slide do think-cell" r:id="rId6" imgW="270" imgH="270" progId="TCLayout.ActiveDocument.1">
                  <p:embed/>
                  <p:pic>
                    <p:nvPicPr>
                      <p:cNvPr id="49" name="Objeto 4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Retângulo 4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US" sz="16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95339" y="-4644"/>
            <a:ext cx="8467110" cy="540000"/>
          </a:xfrm>
        </p:spPr>
        <p:txBody>
          <a:bodyPr vert="horz" anchor="ctr">
            <a:normAutofit/>
          </a:bodyPr>
          <a:lstStyle/>
          <a:p>
            <a:r>
              <a:rPr lang="en-US" sz="1800" dirty="0" err="1"/>
              <a:t>Metodología</a:t>
            </a:r>
            <a:r>
              <a:rPr lang="en-US" sz="1800" dirty="0"/>
              <a:t> </a:t>
            </a:r>
            <a:r>
              <a:rPr lang="en-US" sz="1800" dirty="0" err="1"/>
              <a:t>propuesta</a:t>
            </a:r>
            <a:endParaRPr lang="en-US" sz="18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uadroTexto 2">
                <a:extLst>
                  <a:ext uri="{FF2B5EF4-FFF2-40B4-BE49-F238E27FC236}">
                    <a16:creationId xmlns:a16="http://schemas.microsoft.com/office/drawing/2014/main" id="{887E8C07-2DEE-4923-824A-AC541FE24AA6}"/>
                  </a:ext>
                </a:extLst>
              </p:cNvPr>
              <p:cNvSpPr txBox="1"/>
              <p:nvPr/>
            </p:nvSpPr>
            <p:spPr>
              <a:xfrm>
                <a:off x="1668001" y="977223"/>
                <a:ext cx="8179436" cy="1938992"/>
              </a:xfrm>
              <a:prstGeom prst="rect">
                <a:avLst/>
              </a:prstGeom>
              <a:noFill/>
              <a:ln w="28575">
                <a:solidFill>
                  <a:srgbClr val="034C8B"/>
                </a:solidFill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𝑆𝑒𝑎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:</m:t>
                      </m:r>
                    </m:oMath>
                  </m:oMathPara>
                </a14:m>
                <a:endParaRPr lang="es-ES" b="0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E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ES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es-ES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: 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𝑁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ú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𝑚𝑒𝑟𝑜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𝑑𝑒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𝑝𝑎𝑙𝑒𝑡𝑎𝑠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𝑑𝑖𝑠𝑝𝑜𝑛𝑖𝑏𝑙𝑒𝑠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𝑒𝑛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𝑙𝑎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𝑚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á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𝑞𝑢𝑖𝑛𝑎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𝑖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s-ES" b="0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E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ES" b="0" i="1" smtClean="0">
                              <a:latin typeface="Cambria Math" panose="02040503050406030204" pitchFamily="18" charset="0"/>
                            </a:rPr>
                            <m:t>𝑟</m:t>
                          </m:r>
                        </m:e>
                        <m:sub>
                          <m:r>
                            <a:rPr lang="es-ES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: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𝑁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ú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𝑚𝑒𝑟𝑜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𝑑𝑒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𝑝𝑎𝑙𝑒𝑡𝑎𝑠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𝑝𝑎𝑟𝑎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𝑝𝑎𝑟𝑎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𝑟𝑒𝑝𝑜𝑛𝑒𝑟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𝑒𝑛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𝑙𝑎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𝑚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á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𝑞𝑢𝑖𝑛𝑎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𝑖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s-ES" b="0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E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ES" b="0" i="1" smtClean="0"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es-ES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: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𝐶𝑎𝑝𝑎𝑐𝑖𝑑𝑎𝑑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𝑡𝑜𝑡𝑎𝑙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𝑑𝑒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𝑙𝑎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𝑚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á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𝑞𝑢𝑖𝑛𝑎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𝑖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s-ES" b="0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E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E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</m:e>
                        <m:sub>
                          <m:r>
                            <a:rPr lang="es-ES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: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𝑣𝑎𝑟𝑖𝑎𝑏𝑙𝑒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𝑑𝑢𝑚𝑚𝑦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 (0 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𝑐𝑢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á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𝑛𝑑𝑜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𝑛𝑜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𝑠𝑒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𝑟𝑒𝑝𝑜𝑛𝑒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 1 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𝑐𝑢𝑎𝑛𝑑𝑜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𝑠𝑒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𝑟𝑒𝑝𝑜𝑛𝑒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𝑙𝑎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𝑚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á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𝑞𝑢𝑖𝑛𝑎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) </m:t>
                      </m:r>
                    </m:oMath>
                  </m:oMathPara>
                </a14:m>
                <a:endParaRPr lang="es-ES" b="0" i="1" dirty="0">
                  <a:latin typeface="Cambria Math" panose="02040503050406030204" pitchFamily="18" charset="0"/>
                </a:endParaRPr>
              </a:p>
              <a:p>
                <a:endParaRPr lang="es-ES" b="0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𝐸𝑛𝑡𝑜𝑛𝑐𝑒𝑠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𝑠𝑒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𝑐𝑢𝑚𝑝𝑙𝑒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𝑞𝑢𝑒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 </m:t>
                      </m:r>
                      <m:sSub>
                        <m:sSubPr>
                          <m:ctrlPr>
                            <a:rPr lang="es-E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ES" b="0" i="1" smtClean="0"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es-ES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s-E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ES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es-ES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s-E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ES" b="0" i="1" smtClean="0">
                              <a:latin typeface="Cambria Math" panose="02040503050406030204" pitchFamily="18" charset="0"/>
                            </a:rPr>
                            <m:t>𝑟</m:t>
                          </m:r>
                        </m:e>
                        <m:sub>
                          <m:r>
                            <a:rPr lang="es-ES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</m:oMath>
                  </m:oMathPara>
                </a14:m>
                <a:endParaRPr lang="es-ES" b="0" dirty="0"/>
              </a:p>
            </p:txBody>
          </p:sp>
        </mc:Choice>
        <mc:Fallback xmlns="">
          <p:sp>
            <p:nvSpPr>
              <p:cNvPr id="3" name="CuadroTexto 2">
                <a:extLst>
                  <a:ext uri="{FF2B5EF4-FFF2-40B4-BE49-F238E27FC236}">
                    <a16:creationId xmlns:a16="http://schemas.microsoft.com/office/drawing/2014/main" id="{887E8C07-2DEE-4923-824A-AC541FE24AA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68001" y="977223"/>
                <a:ext cx="8179436" cy="1938992"/>
              </a:xfrm>
              <a:prstGeom prst="rect">
                <a:avLst/>
              </a:prstGeom>
              <a:blipFill>
                <a:blip r:embed="rId8"/>
                <a:stretch>
                  <a:fillRect b="-3096"/>
                </a:stretch>
              </a:blipFill>
              <a:ln w="28575">
                <a:solidFill>
                  <a:srgbClr val="034C8B"/>
                </a:solidFill>
              </a:ln>
            </p:spPr>
            <p:txBody>
              <a:bodyPr/>
              <a:lstStyle/>
              <a:p>
                <a:r>
                  <a:rPr lang="es-P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" name="CuadroTexto 3">
                <a:extLst>
                  <a:ext uri="{FF2B5EF4-FFF2-40B4-BE49-F238E27FC236}">
                    <a16:creationId xmlns:a16="http://schemas.microsoft.com/office/drawing/2014/main" id="{0155D7C8-CFFA-4FE3-B4BC-C0FD5DB8DFF7}"/>
                  </a:ext>
                </a:extLst>
              </p:cNvPr>
              <p:cNvSpPr txBox="1"/>
              <p:nvPr/>
            </p:nvSpPr>
            <p:spPr>
              <a:xfrm>
                <a:off x="1089503" y="3528247"/>
                <a:ext cx="3969613" cy="830997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𝐶𝑜𝑠𝑡𝑜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𝑑𝑒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𝑙𝑎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𝑚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á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𝑞𝑢𝑖𝑛𝑎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𝑖</m:t>
                      </m:r>
                    </m:oMath>
                  </m:oMathPara>
                </a14:m>
                <a:endParaRPr lang="es-ES" b="0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𝐶𝑜𝑠𝑡</m:t>
                      </m:r>
                      <m:sSub>
                        <m:sSubPr>
                          <m:ctrlPr>
                            <a:rPr lang="es-E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ES" b="0" i="1" smtClean="0">
                              <a:latin typeface="Cambria Math" panose="02040503050406030204" pitchFamily="18" charset="0"/>
                            </a:rPr>
                            <m:t>𝑜</m:t>
                          </m:r>
                        </m:e>
                        <m:sub>
                          <m:r>
                            <a:rPr lang="es-ES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𝐶</m:t>
                      </m:r>
                      <m:sSub>
                        <m:sSubPr>
                          <m:ctrlPr>
                            <a:rPr lang="es-E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ES" b="0" i="1" smtClean="0">
                              <a:latin typeface="Cambria Math" panose="02040503050406030204" pitchFamily="18" charset="0"/>
                            </a:rPr>
                            <m:t>𝑜𝑠𝑡𝑜𝐹𝑖𝑗𝑜</m:t>
                          </m:r>
                        </m:e>
                        <m:sub>
                          <m:r>
                            <a:rPr lang="es-ES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𝐶𝑜𝑠𝑡𝑜</m:t>
                      </m:r>
                      <m:sSub>
                        <m:sSubPr>
                          <m:ctrlPr>
                            <a:rPr lang="es-E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ES" b="0" i="1" smtClean="0">
                              <a:latin typeface="Cambria Math" panose="02040503050406030204" pitchFamily="18" charset="0"/>
                            </a:rPr>
                            <m:t>𝑉𝑎𝑟𝑖𝑎𝑏𝑙𝑒</m:t>
                          </m:r>
                        </m:e>
                        <m:sub>
                          <m:r>
                            <a:rPr lang="es-ES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s-ES" b="0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𝐶𝑜𝑠𝑡</m:t>
                      </m:r>
                      <m:sSub>
                        <m:sSubPr>
                          <m:ctrlPr>
                            <a:rPr lang="es-E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ES" b="0" i="1" smtClean="0">
                              <a:latin typeface="Cambria Math" panose="02040503050406030204" pitchFamily="18" charset="0"/>
                            </a:rPr>
                            <m:t>𝑜</m:t>
                          </m:r>
                        </m:e>
                        <m:sub>
                          <m:r>
                            <a:rPr lang="es-ES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=1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𝑀𝑋𝑁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∗</m:t>
                      </m:r>
                      <m:sSub>
                        <m:sSubPr>
                          <m:ctrlPr>
                            <a:rPr lang="es-E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ES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es-ES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+100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𝑀𝑋𝑀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∗</m:t>
                      </m:r>
                      <m:sSub>
                        <m:sSubPr>
                          <m:ctrlPr>
                            <a:rPr lang="es-E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E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</m:e>
                        <m:sub>
                          <m:r>
                            <a:rPr lang="es-ES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</m:oMath>
                  </m:oMathPara>
                </a14:m>
                <a:endParaRPr lang="es-PE" dirty="0"/>
              </a:p>
            </p:txBody>
          </p:sp>
        </mc:Choice>
        <mc:Fallback xmlns="">
          <p:sp>
            <p:nvSpPr>
              <p:cNvPr id="4" name="CuadroTexto 3">
                <a:extLst>
                  <a:ext uri="{FF2B5EF4-FFF2-40B4-BE49-F238E27FC236}">
                    <a16:creationId xmlns:a16="http://schemas.microsoft.com/office/drawing/2014/main" id="{0155D7C8-CFFA-4FE3-B4BC-C0FD5DB8DFF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89503" y="3528247"/>
                <a:ext cx="3969613" cy="830997"/>
              </a:xfrm>
              <a:prstGeom prst="rect">
                <a:avLst/>
              </a:prstGeom>
              <a:blipFill>
                <a:blip r:embed="rId9"/>
                <a:stretch>
                  <a:fillRect l="-1075" t="-1471" b="-5147"/>
                </a:stretch>
              </a:blipFill>
            </p:spPr>
            <p:txBody>
              <a:bodyPr/>
              <a:lstStyle/>
              <a:p>
                <a:r>
                  <a:rPr lang="es-P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" name="CuadroTexto 4">
                <a:extLst>
                  <a:ext uri="{FF2B5EF4-FFF2-40B4-BE49-F238E27FC236}">
                    <a16:creationId xmlns:a16="http://schemas.microsoft.com/office/drawing/2014/main" id="{533CBD58-6994-4FCD-87B7-578DC1583E5D}"/>
                  </a:ext>
                </a:extLst>
              </p:cNvPr>
              <p:cNvSpPr txBox="1"/>
              <p:nvPr/>
            </p:nvSpPr>
            <p:spPr>
              <a:xfrm>
                <a:off x="6454786" y="3563669"/>
                <a:ext cx="3452933" cy="756233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𝐶𝑜𝑠𝑡𝑜𝑇𝑜𝑡𝑎𝑙</m:t>
                      </m:r>
                      <m:r>
                        <a:rPr lang="pt-BR" i="1" smtClean="0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pt-BR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s-ES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pt-BR" i="1" smtClean="0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s-E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pt-BR" i="1" smtClean="0">
                              <a:latin typeface="Cambria Math" panose="02040503050406030204" pitchFamily="18" charset="0"/>
                            </a:rPr>
                            <m:t>𝑛</m:t>
                          </m:r>
                        </m:sup>
                        <m:e>
                          <m:sSub>
                            <m:sSubPr>
                              <m:ctrlPr>
                                <a:rPr lang="es-E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s-ES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s-ES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es-ES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</m:e>
                      </m:nary>
                      <m:nary>
                        <m:naryPr>
                          <m:chr m:val="∑"/>
                          <m:ctrlPr>
                            <a:rPr lang="pt-BR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s-ES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pt-BR" i="1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s-ES" i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pt-BR" i="1">
                              <a:latin typeface="Cambria Math" panose="02040503050406030204" pitchFamily="18" charset="0"/>
                            </a:rPr>
                            <m:t>𝑛</m:t>
                          </m:r>
                        </m:sup>
                        <m:e>
                          <m:r>
                            <a:rPr lang="es-ES" b="0" i="1" smtClean="0">
                              <a:latin typeface="Cambria Math" panose="02040503050406030204" pitchFamily="18" charset="0"/>
                            </a:rPr>
                            <m:t>100∗</m:t>
                          </m:r>
                          <m:sSub>
                            <m:sSubPr>
                              <m:ctrlPr>
                                <a:rPr lang="es-E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s-ES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e>
                            <m:sub>
                              <m:r>
                                <a:rPr lang="es-ES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nary>
                    </m:oMath>
                  </m:oMathPara>
                </a14:m>
                <a:endParaRPr lang="es-PE" dirty="0"/>
              </a:p>
            </p:txBody>
          </p:sp>
        </mc:Choice>
        <mc:Fallback xmlns="">
          <p:sp>
            <p:nvSpPr>
              <p:cNvPr id="5" name="CuadroTexto 4">
                <a:extLst>
                  <a:ext uri="{FF2B5EF4-FFF2-40B4-BE49-F238E27FC236}">
                    <a16:creationId xmlns:a16="http://schemas.microsoft.com/office/drawing/2014/main" id="{533CBD58-6994-4FCD-87B7-578DC1583E5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54786" y="3563669"/>
                <a:ext cx="3452933" cy="756233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s-P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938147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to 4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2" name="Slide do think-cell" r:id="rId6" imgW="270" imgH="270" progId="TCLayout.ActiveDocument.1">
                  <p:embed/>
                </p:oleObj>
              </mc:Choice>
              <mc:Fallback>
                <p:oleObj name="Slide do think-cell" r:id="rId6" imgW="270" imgH="270" progId="TCLayout.ActiveDocument.1">
                  <p:embed/>
                  <p:pic>
                    <p:nvPicPr>
                      <p:cNvPr id="49" name="Objeto 4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Retângulo 4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US" sz="16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47173" y="0"/>
            <a:ext cx="8719700" cy="540000"/>
          </a:xfrm>
        </p:spPr>
        <p:txBody>
          <a:bodyPr vert="horz" anchor="ctr">
            <a:noAutofit/>
          </a:bodyPr>
          <a:lstStyle/>
          <a:p>
            <a:r>
              <a:rPr lang="en-US" sz="1400" dirty="0">
                <a:latin typeface="Verdana" panose="020B0604030504040204" pitchFamily="34" charset="0"/>
              </a:rPr>
              <a:t>b. ¿</a:t>
            </a:r>
            <a:r>
              <a:rPr lang="en-US" sz="1400" dirty="0" err="1">
                <a:latin typeface="Verdana" panose="020B0604030504040204" pitchFamily="34" charset="0"/>
              </a:rPr>
              <a:t>Cómo</a:t>
            </a:r>
            <a:r>
              <a:rPr lang="en-US" sz="1400" dirty="0">
                <a:latin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</a:rPr>
              <a:t>te</a:t>
            </a:r>
            <a:r>
              <a:rPr lang="en-US" sz="1400" dirty="0">
                <a:latin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</a:rPr>
              <a:t>imaginas</a:t>
            </a:r>
            <a:r>
              <a:rPr lang="en-US" sz="1400" dirty="0">
                <a:latin typeface="Verdana" panose="020B0604030504040204" pitchFamily="34" charset="0"/>
              </a:rPr>
              <a:t> una </a:t>
            </a:r>
            <a:r>
              <a:rPr lang="en-US" sz="1400" dirty="0" err="1">
                <a:latin typeface="Verdana" panose="020B0604030504040204" pitchFamily="34" charset="0"/>
              </a:rPr>
              <a:t>solución</a:t>
            </a:r>
            <a:r>
              <a:rPr lang="en-US" sz="1400" dirty="0">
                <a:latin typeface="Verdana" panose="020B0604030504040204" pitchFamily="34" charset="0"/>
              </a:rPr>
              <a:t> functional al </a:t>
            </a:r>
            <a:r>
              <a:rPr lang="en-US" sz="1400" dirty="0" err="1">
                <a:latin typeface="Verdana" panose="020B0604030504040204" pitchFamily="34" charset="0"/>
              </a:rPr>
              <a:t>problema</a:t>
            </a:r>
            <a:r>
              <a:rPr lang="en-US" sz="1400" dirty="0">
                <a:latin typeface="Verdana" panose="020B0604030504040204" pitchFamily="34" charset="0"/>
              </a:rPr>
              <a:t>? ¿De </a:t>
            </a:r>
            <a:r>
              <a:rPr lang="en-US" sz="1400" dirty="0" err="1">
                <a:latin typeface="Verdana" panose="020B0604030504040204" pitchFamily="34" charset="0"/>
              </a:rPr>
              <a:t>qué</a:t>
            </a:r>
            <a:r>
              <a:rPr lang="en-US" sz="1400" dirty="0">
                <a:latin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</a:rPr>
              <a:t>partes</a:t>
            </a:r>
            <a:r>
              <a:rPr lang="en-US" sz="1400" dirty="0">
                <a:latin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</a:rPr>
              <a:t>está</a:t>
            </a:r>
            <a:r>
              <a:rPr lang="en-US" sz="1400" dirty="0">
                <a:latin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</a:rPr>
              <a:t>conformada</a:t>
            </a:r>
            <a:r>
              <a:rPr lang="en-US" sz="1400" dirty="0">
                <a:latin typeface="Verdana" panose="020B0604030504040204" pitchFamily="34" charset="0"/>
              </a:rPr>
              <a:t>? ¿</a:t>
            </a:r>
            <a:r>
              <a:rPr lang="en-US" sz="1400" dirty="0" err="1">
                <a:latin typeface="Verdana" panose="020B0604030504040204" pitchFamily="34" charset="0"/>
              </a:rPr>
              <a:t>Cómo</a:t>
            </a:r>
            <a:r>
              <a:rPr lang="en-US" sz="1400" dirty="0">
                <a:latin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</a:rPr>
              <a:t>interactúan</a:t>
            </a:r>
            <a:r>
              <a:rPr lang="en-US" sz="1400" dirty="0">
                <a:latin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</a:rPr>
              <a:t>esas</a:t>
            </a:r>
            <a:r>
              <a:rPr lang="en-US" sz="1400" dirty="0">
                <a:latin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</a:rPr>
              <a:t>partes</a:t>
            </a:r>
            <a:r>
              <a:rPr lang="en-US" sz="1400" dirty="0">
                <a:latin typeface="Verdana" panose="020B0604030504040204" pitchFamily="34" charset="0"/>
              </a:rPr>
              <a:t>? ¿</a:t>
            </a:r>
            <a:r>
              <a:rPr lang="en-US" sz="1400" dirty="0" err="1">
                <a:latin typeface="Verdana" panose="020B0604030504040204" pitchFamily="34" charset="0"/>
              </a:rPr>
              <a:t>Qué</a:t>
            </a:r>
            <a:r>
              <a:rPr lang="en-US" sz="1400" dirty="0">
                <a:latin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</a:rPr>
              <a:t>supuestos</a:t>
            </a:r>
            <a:r>
              <a:rPr lang="en-US" sz="1400" dirty="0">
                <a:latin typeface="Verdana" panose="020B0604030504040204" pitchFamily="34" charset="0"/>
              </a:rPr>
              <a:t> y </a:t>
            </a:r>
            <a:r>
              <a:rPr lang="en-US" sz="1400" dirty="0" err="1">
                <a:latin typeface="Verdana" panose="020B0604030504040204" pitchFamily="34" charset="0"/>
              </a:rPr>
              <a:t>riesgos</a:t>
            </a:r>
            <a:r>
              <a:rPr lang="en-US" sz="1400" dirty="0">
                <a:latin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</a:rPr>
              <a:t>ves</a:t>
            </a:r>
            <a:r>
              <a:rPr lang="en-US" sz="1400" dirty="0">
                <a:latin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</a:rPr>
              <a:t>en</a:t>
            </a:r>
            <a:r>
              <a:rPr lang="en-US" sz="1400" dirty="0">
                <a:latin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</a:rPr>
              <a:t>tu</a:t>
            </a:r>
            <a:r>
              <a:rPr lang="en-US" sz="1400" dirty="0">
                <a:latin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</a:rPr>
              <a:t>planteamiento</a:t>
            </a:r>
            <a:r>
              <a:rPr lang="en-US" sz="1400" dirty="0">
                <a:latin typeface="Verdana" panose="020B0604030504040204" pitchFamily="34" charset="0"/>
              </a:rPr>
              <a:t>?</a:t>
            </a:r>
          </a:p>
        </p:txBody>
      </p:sp>
      <p:sp>
        <p:nvSpPr>
          <p:cNvPr id="52" name="Retângulo 51">
            <a:extLst>
              <a:ext uri="{FF2B5EF4-FFF2-40B4-BE49-F238E27FC236}">
                <a16:creationId xmlns:a16="http://schemas.microsoft.com/office/drawing/2014/main" id="{DF06125D-1833-4D50-A3C4-A16E0858C03F}"/>
              </a:ext>
            </a:extLst>
          </p:cNvPr>
          <p:cNvSpPr/>
          <p:nvPr/>
        </p:nvSpPr>
        <p:spPr>
          <a:xfrm>
            <a:off x="978818" y="998287"/>
            <a:ext cx="10787084" cy="577573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 cap="flat" cmpd="sng" algn="ctr">
            <a:solidFill>
              <a:srgbClr val="808080"/>
            </a:solidFill>
            <a:prstDash val="lgDash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53" name="CaixaDeTexto 52">
            <a:extLst>
              <a:ext uri="{FF2B5EF4-FFF2-40B4-BE49-F238E27FC236}">
                <a16:creationId xmlns:a16="http://schemas.microsoft.com/office/drawing/2014/main" id="{22C9B409-9B29-4EDE-B838-2E596B322BD5}"/>
              </a:ext>
            </a:extLst>
          </p:cNvPr>
          <p:cNvSpPr txBox="1"/>
          <p:nvPr/>
        </p:nvSpPr>
        <p:spPr>
          <a:xfrm>
            <a:off x="1361654" y="1469864"/>
            <a:ext cx="8099587" cy="509370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defRPr sz="1500" b="1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marL="285750" indent="-285750" algn="l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La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Michoacana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dispone de una Base de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Dato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que se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actualiza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diariamente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, debe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tratarse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algún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ERP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cómo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SAP o similar.</a:t>
            </a:r>
          </a:p>
          <a:p>
            <a:pPr marL="285750" indent="-285750" algn="l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Habría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que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verificar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si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esto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dato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están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bajo un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modelo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eficiente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y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si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es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necesario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se debe considerer la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implementación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de un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Dataware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House </a:t>
            </a:r>
          </a:p>
          <a:p>
            <a:pPr marL="285750" indent="-285750" algn="l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Luis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necesita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indicadore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y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métrica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para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tomar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decisione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en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el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día a día, por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tal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razón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se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puede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proponer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la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implementación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reporte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Dashboard que se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actualicen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de forma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automática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todo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los días.</a:t>
            </a:r>
          </a:p>
          <a:p>
            <a:pPr marL="285750" indent="-285750" algn="l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Esto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reporte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Dashboard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deben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contener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los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algoritmo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y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modelo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que se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plantearon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en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la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optimización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este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caso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, por tanto se debe considerer un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procedimiento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ETL para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convertir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los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dato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del ERP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en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información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que se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mostrarán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en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los reports Dashboard.</a:t>
            </a:r>
          </a:p>
          <a:p>
            <a:pPr marL="285750" indent="-285750" algn="l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Estamos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suponiendo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que los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dato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están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alojado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en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un ERP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como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SAP,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tal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vez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esta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no sea la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realidad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de La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Michoacana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y se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deba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implementar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algún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Sistema para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tener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la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actualización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de los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dato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y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poder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hacer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la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conexión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con los Dashboard.</a:t>
            </a:r>
          </a:p>
          <a:p>
            <a:pPr marL="285750" indent="-285750" algn="l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El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riesgo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operative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está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latente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en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cada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etapa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está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solución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(error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humano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falla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en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los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proceso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  <a:p>
            <a:pPr marL="285750" indent="-285750" algn="l">
              <a:spcAft>
                <a:spcPts val="1200"/>
              </a:spcAft>
              <a:buFont typeface="Wingdings" panose="05000000000000000000" pitchFamily="2" charset="2"/>
              <a:buChar char="§"/>
            </a:pPr>
            <a:endParaRPr lang="en-US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l">
              <a:spcAft>
                <a:spcPts val="1200"/>
              </a:spcAft>
              <a:buFont typeface="Wingdings" panose="05000000000000000000" pitchFamily="2" charset="2"/>
              <a:buChar char="§"/>
            </a:pPr>
            <a:endParaRPr lang="en-US" b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7C5892F8-9EC5-4FF5-9701-91D3B20CFCA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566873" y="2907884"/>
            <a:ext cx="1093554" cy="1042232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8F16AD22-C978-4129-B8DC-51851D6BC80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475819" y="1347373"/>
            <a:ext cx="914702" cy="910636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F7B0AB87-C646-4A32-A9ED-4B9B61B3169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387451" y="4599992"/>
            <a:ext cx="1091438" cy="105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238651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Retângulo 51">
            <a:extLst>
              <a:ext uri="{FF2B5EF4-FFF2-40B4-BE49-F238E27FC236}">
                <a16:creationId xmlns:a16="http://schemas.microsoft.com/office/drawing/2014/main" id="{CCA5EA2E-61AD-4919-8E0D-C2BD329CA7B0}"/>
              </a:ext>
            </a:extLst>
          </p:cNvPr>
          <p:cNvSpPr/>
          <p:nvPr/>
        </p:nvSpPr>
        <p:spPr>
          <a:xfrm>
            <a:off x="7252502" y="4619549"/>
            <a:ext cx="1523644" cy="130032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 algn="ctr">
            <a:solidFill>
              <a:schemeClr val="tx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47" name="Retângulo 51">
            <a:extLst>
              <a:ext uri="{FF2B5EF4-FFF2-40B4-BE49-F238E27FC236}">
                <a16:creationId xmlns:a16="http://schemas.microsoft.com/office/drawing/2014/main" id="{881A4843-7C81-4EC7-A998-DA14B3C99A76}"/>
              </a:ext>
            </a:extLst>
          </p:cNvPr>
          <p:cNvSpPr/>
          <p:nvPr/>
        </p:nvSpPr>
        <p:spPr>
          <a:xfrm>
            <a:off x="4010342" y="1498122"/>
            <a:ext cx="1523644" cy="1300325"/>
          </a:xfrm>
          <a:prstGeom prst="rect">
            <a:avLst/>
          </a:prstGeom>
          <a:solidFill>
            <a:schemeClr val="bg2"/>
          </a:solidFill>
          <a:ln w="19050" cap="flat" cmpd="sng" algn="ctr">
            <a:solidFill>
              <a:schemeClr val="tx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28098276-BBBB-48B8-A420-48B8466A18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1590" y="11304"/>
            <a:ext cx="8640000" cy="540000"/>
          </a:xfrm>
        </p:spPr>
        <p:txBody>
          <a:bodyPr/>
          <a:lstStyle/>
          <a:p>
            <a:r>
              <a:rPr lang="es-ES" sz="1800" dirty="0"/>
              <a:t>Diagrama de la solución propuesta</a:t>
            </a:r>
            <a:endParaRPr lang="es-PE" dirty="0"/>
          </a:p>
        </p:txBody>
      </p:sp>
      <p:sp>
        <p:nvSpPr>
          <p:cNvPr id="7" name="Retângulo 51">
            <a:extLst>
              <a:ext uri="{FF2B5EF4-FFF2-40B4-BE49-F238E27FC236}">
                <a16:creationId xmlns:a16="http://schemas.microsoft.com/office/drawing/2014/main" id="{6872C2FF-F454-4DCF-A27A-3DB50558C79F}"/>
              </a:ext>
            </a:extLst>
          </p:cNvPr>
          <p:cNvSpPr/>
          <p:nvPr/>
        </p:nvSpPr>
        <p:spPr>
          <a:xfrm>
            <a:off x="1682721" y="1441029"/>
            <a:ext cx="1523644" cy="1300325"/>
          </a:xfrm>
          <a:prstGeom prst="rect">
            <a:avLst/>
          </a:prstGeom>
          <a:solidFill>
            <a:schemeClr val="bg2"/>
          </a:solidFill>
          <a:ln w="15875" cap="flat" cmpd="sng" algn="ctr">
            <a:solidFill>
              <a:schemeClr val="tx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43" name="CaixaDeTexto 52">
            <a:extLst>
              <a:ext uri="{FF2B5EF4-FFF2-40B4-BE49-F238E27FC236}">
                <a16:creationId xmlns:a16="http://schemas.microsoft.com/office/drawing/2014/main" id="{6F0F7A02-5AF1-46F4-9715-D80A845751B4}"/>
              </a:ext>
            </a:extLst>
          </p:cNvPr>
          <p:cNvSpPr txBox="1"/>
          <p:nvPr/>
        </p:nvSpPr>
        <p:spPr>
          <a:xfrm>
            <a:off x="1601915" y="2205291"/>
            <a:ext cx="1523644" cy="461665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defRPr sz="1500" b="1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spcAft>
                <a:spcPts val="1200"/>
              </a:spcAft>
            </a:pPr>
            <a:r>
              <a:rPr lang="en-US" sz="1200" dirty="0">
                <a:solidFill>
                  <a:schemeClr val="accent1"/>
                </a:solidFill>
              </a:rPr>
              <a:t>1. </a:t>
            </a:r>
            <a:r>
              <a:rPr lang="en-US" sz="1200" dirty="0" err="1">
                <a:solidFill>
                  <a:schemeClr val="accent1"/>
                </a:solidFill>
              </a:rPr>
              <a:t>Planificación</a:t>
            </a:r>
            <a:r>
              <a:rPr lang="en-US" sz="1200" dirty="0">
                <a:solidFill>
                  <a:schemeClr val="accent1"/>
                </a:solidFill>
              </a:rPr>
              <a:t> del Proyecto</a:t>
            </a:r>
            <a:endParaRPr lang="en-US" sz="1200" dirty="0"/>
          </a:p>
        </p:txBody>
      </p:sp>
      <p:sp>
        <p:nvSpPr>
          <p:cNvPr id="48" name="CaixaDeTexto 52">
            <a:extLst>
              <a:ext uri="{FF2B5EF4-FFF2-40B4-BE49-F238E27FC236}">
                <a16:creationId xmlns:a16="http://schemas.microsoft.com/office/drawing/2014/main" id="{9071C4B0-5A67-4A34-A701-5C2524CEA064}"/>
              </a:ext>
            </a:extLst>
          </p:cNvPr>
          <p:cNvSpPr txBox="1"/>
          <p:nvPr/>
        </p:nvSpPr>
        <p:spPr>
          <a:xfrm>
            <a:off x="3918928" y="2294995"/>
            <a:ext cx="1751877" cy="461665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defRPr sz="1500" b="1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spcAft>
                <a:spcPts val="1200"/>
              </a:spcAft>
            </a:pPr>
            <a:r>
              <a:rPr lang="en-US" sz="1200" dirty="0">
                <a:solidFill>
                  <a:schemeClr val="accent1"/>
                </a:solidFill>
              </a:rPr>
              <a:t>2. </a:t>
            </a:r>
            <a:r>
              <a:rPr lang="en-US" sz="1200" dirty="0" err="1">
                <a:solidFill>
                  <a:schemeClr val="accent1"/>
                </a:solidFill>
              </a:rPr>
              <a:t>Modelamiento</a:t>
            </a:r>
            <a:r>
              <a:rPr lang="en-US" sz="1200" dirty="0">
                <a:solidFill>
                  <a:schemeClr val="accent1"/>
                </a:solidFill>
              </a:rPr>
              <a:t> de los </a:t>
            </a:r>
            <a:r>
              <a:rPr lang="en-US" sz="1200" dirty="0" err="1">
                <a:solidFill>
                  <a:schemeClr val="accent1"/>
                </a:solidFill>
              </a:rPr>
              <a:t>datos</a:t>
            </a:r>
            <a:endParaRPr lang="en-US" sz="1200" dirty="0"/>
          </a:p>
        </p:txBody>
      </p:sp>
      <p:sp>
        <p:nvSpPr>
          <p:cNvPr id="49" name="Retângulo 51">
            <a:extLst>
              <a:ext uri="{FF2B5EF4-FFF2-40B4-BE49-F238E27FC236}">
                <a16:creationId xmlns:a16="http://schemas.microsoft.com/office/drawing/2014/main" id="{EE66B545-7BC6-4126-B120-A042D217F15F}"/>
              </a:ext>
            </a:extLst>
          </p:cNvPr>
          <p:cNvSpPr/>
          <p:nvPr/>
        </p:nvSpPr>
        <p:spPr>
          <a:xfrm>
            <a:off x="6296828" y="1466736"/>
            <a:ext cx="1523644" cy="1300325"/>
          </a:xfrm>
          <a:prstGeom prst="rect">
            <a:avLst/>
          </a:prstGeom>
          <a:solidFill>
            <a:schemeClr val="bg2"/>
          </a:solidFill>
          <a:ln w="19050" cap="flat" cmpd="sng" algn="ctr">
            <a:solidFill>
              <a:schemeClr val="tx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53" name="CaixaDeTexto 52">
            <a:extLst>
              <a:ext uri="{FF2B5EF4-FFF2-40B4-BE49-F238E27FC236}">
                <a16:creationId xmlns:a16="http://schemas.microsoft.com/office/drawing/2014/main" id="{96165501-8DD0-44E0-BCB6-2777DE63055B}"/>
              </a:ext>
            </a:extLst>
          </p:cNvPr>
          <p:cNvSpPr txBox="1"/>
          <p:nvPr/>
        </p:nvSpPr>
        <p:spPr>
          <a:xfrm>
            <a:off x="6193976" y="2251155"/>
            <a:ext cx="1625847" cy="461665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defRPr sz="1500" b="1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spcAft>
                <a:spcPts val="1200"/>
              </a:spcAft>
            </a:pPr>
            <a:r>
              <a:rPr lang="en-US" sz="1200" dirty="0">
                <a:solidFill>
                  <a:schemeClr val="accent1"/>
                </a:solidFill>
              </a:rPr>
              <a:t>3.- </a:t>
            </a:r>
            <a:r>
              <a:rPr lang="en-US" sz="1200" dirty="0" err="1">
                <a:solidFill>
                  <a:schemeClr val="accent1"/>
                </a:solidFill>
              </a:rPr>
              <a:t>Dataware</a:t>
            </a:r>
            <a:r>
              <a:rPr lang="en-US" sz="1200" dirty="0">
                <a:solidFill>
                  <a:schemeClr val="accent1"/>
                </a:solidFill>
              </a:rPr>
              <a:t> House</a:t>
            </a:r>
            <a:endParaRPr lang="en-US" sz="1200" dirty="0"/>
          </a:p>
        </p:txBody>
      </p:sp>
      <p:sp>
        <p:nvSpPr>
          <p:cNvPr id="65" name="Retângulo 51">
            <a:extLst>
              <a:ext uri="{FF2B5EF4-FFF2-40B4-BE49-F238E27FC236}">
                <a16:creationId xmlns:a16="http://schemas.microsoft.com/office/drawing/2014/main" id="{90A1F2AC-1D39-4E38-BA08-678655D9B763}"/>
              </a:ext>
            </a:extLst>
          </p:cNvPr>
          <p:cNvSpPr/>
          <p:nvPr/>
        </p:nvSpPr>
        <p:spPr>
          <a:xfrm>
            <a:off x="8542859" y="1478917"/>
            <a:ext cx="1523644" cy="1300325"/>
          </a:xfrm>
          <a:prstGeom prst="rect">
            <a:avLst/>
          </a:prstGeom>
          <a:solidFill>
            <a:schemeClr val="bg2"/>
          </a:solidFill>
          <a:ln w="22225" cap="flat" cmpd="sng" algn="ctr">
            <a:solidFill>
              <a:schemeClr val="tx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71" name="CaixaDeTexto 52">
            <a:extLst>
              <a:ext uri="{FF2B5EF4-FFF2-40B4-BE49-F238E27FC236}">
                <a16:creationId xmlns:a16="http://schemas.microsoft.com/office/drawing/2014/main" id="{5FCB2E3B-A3EA-4B2C-88D9-AD10EBF072D3}"/>
              </a:ext>
            </a:extLst>
          </p:cNvPr>
          <p:cNvSpPr txBox="1"/>
          <p:nvPr/>
        </p:nvSpPr>
        <p:spPr>
          <a:xfrm>
            <a:off x="8413224" y="2347172"/>
            <a:ext cx="1523644" cy="461665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defRPr sz="1500" b="1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spcAft>
                <a:spcPts val="1200"/>
              </a:spcAft>
            </a:pPr>
            <a:r>
              <a:rPr lang="en-US" sz="1200" dirty="0">
                <a:solidFill>
                  <a:schemeClr val="accent1"/>
                </a:solidFill>
              </a:rPr>
              <a:t>4. Desarrollo de Dashboards</a:t>
            </a:r>
            <a:endParaRPr lang="en-US" sz="1200" dirty="0"/>
          </a:p>
        </p:txBody>
      </p:sp>
      <p:sp>
        <p:nvSpPr>
          <p:cNvPr id="81" name="Flecha: a la derecha 80">
            <a:extLst>
              <a:ext uri="{FF2B5EF4-FFF2-40B4-BE49-F238E27FC236}">
                <a16:creationId xmlns:a16="http://schemas.microsoft.com/office/drawing/2014/main" id="{95FD1EBC-20A5-41F9-9F60-018D91825E69}"/>
              </a:ext>
            </a:extLst>
          </p:cNvPr>
          <p:cNvSpPr/>
          <p:nvPr/>
        </p:nvSpPr>
        <p:spPr>
          <a:xfrm>
            <a:off x="3500946" y="1725651"/>
            <a:ext cx="309530" cy="900983"/>
          </a:xfrm>
          <a:prstGeom prst="rightArrow">
            <a:avLst>
              <a:gd name="adj1" fmla="val 72305"/>
              <a:gd name="adj2" fmla="val 72724"/>
            </a:avLst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98" name="Google Shape;9255;p80">
            <a:extLst>
              <a:ext uri="{FF2B5EF4-FFF2-40B4-BE49-F238E27FC236}">
                <a16:creationId xmlns:a16="http://schemas.microsoft.com/office/drawing/2014/main" id="{CF2996E1-8ED0-4D8B-A721-8EB60A1AFB00}"/>
              </a:ext>
            </a:extLst>
          </p:cNvPr>
          <p:cNvSpPr/>
          <p:nvPr/>
        </p:nvSpPr>
        <p:spPr>
          <a:xfrm>
            <a:off x="2222128" y="1642095"/>
            <a:ext cx="577977" cy="516087"/>
          </a:xfrm>
          <a:custGeom>
            <a:avLst/>
            <a:gdLst/>
            <a:ahLst/>
            <a:cxnLst/>
            <a:rect l="l" t="t" r="r" b="b"/>
            <a:pathLst>
              <a:path w="18772" h="17991" extrusionOk="0">
                <a:moveTo>
                  <a:pt x="17492" y="6197"/>
                </a:moveTo>
                <a:lnTo>
                  <a:pt x="17217" y="8063"/>
                </a:lnTo>
                <a:lnTo>
                  <a:pt x="15626" y="6472"/>
                </a:lnTo>
                <a:lnTo>
                  <a:pt x="17492" y="6197"/>
                </a:lnTo>
                <a:close/>
                <a:moveTo>
                  <a:pt x="6055" y="9391"/>
                </a:moveTo>
                <a:lnTo>
                  <a:pt x="6055" y="16858"/>
                </a:lnTo>
                <a:lnTo>
                  <a:pt x="1133" y="16858"/>
                </a:lnTo>
                <a:lnTo>
                  <a:pt x="1133" y="13332"/>
                </a:lnTo>
                <a:lnTo>
                  <a:pt x="6055" y="9391"/>
                </a:lnTo>
                <a:close/>
                <a:moveTo>
                  <a:pt x="7187" y="9141"/>
                </a:moveTo>
                <a:lnTo>
                  <a:pt x="11903" y="11568"/>
                </a:lnTo>
                <a:lnTo>
                  <a:pt x="11903" y="16858"/>
                </a:lnTo>
                <a:lnTo>
                  <a:pt x="7187" y="16858"/>
                </a:lnTo>
                <a:lnTo>
                  <a:pt x="7187" y="9141"/>
                </a:lnTo>
                <a:close/>
                <a:moveTo>
                  <a:pt x="565" y="1"/>
                </a:moveTo>
                <a:cubicBezTo>
                  <a:pt x="254" y="1"/>
                  <a:pt x="1" y="255"/>
                  <a:pt x="1" y="569"/>
                </a:cubicBezTo>
                <a:lnTo>
                  <a:pt x="1" y="17423"/>
                </a:lnTo>
                <a:cubicBezTo>
                  <a:pt x="1" y="17737"/>
                  <a:pt x="254" y="17991"/>
                  <a:pt x="565" y="17991"/>
                </a:cubicBezTo>
                <a:lnTo>
                  <a:pt x="18141" y="17991"/>
                </a:lnTo>
                <a:cubicBezTo>
                  <a:pt x="18455" y="17991"/>
                  <a:pt x="18706" y="17737"/>
                  <a:pt x="18706" y="17423"/>
                </a:cubicBezTo>
                <a:cubicBezTo>
                  <a:pt x="18706" y="17112"/>
                  <a:pt x="18455" y="16858"/>
                  <a:pt x="18141" y="16858"/>
                </a:cubicBezTo>
                <a:lnTo>
                  <a:pt x="13033" y="16858"/>
                </a:lnTo>
                <a:lnTo>
                  <a:pt x="13033" y="11457"/>
                </a:lnTo>
                <a:lnTo>
                  <a:pt x="16022" y="8467"/>
                </a:lnTo>
                <a:lnTo>
                  <a:pt x="17214" y="9660"/>
                </a:lnTo>
                <a:cubicBezTo>
                  <a:pt x="17329" y="9774"/>
                  <a:pt x="17471" y="9826"/>
                  <a:pt x="17611" y="9826"/>
                </a:cubicBezTo>
                <a:cubicBezTo>
                  <a:pt x="17874" y="9826"/>
                  <a:pt x="18129" y="9643"/>
                  <a:pt x="18175" y="9343"/>
                </a:cubicBezTo>
                <a:lnTo>
                  <a:pt x="18721" y="5608"/>
                </a:lnTo>
                <a:cubicBezTo>
                  <a:pt x="18771" y="5262"/>
                  <a:pt x="18501" y="4962"/>
                  <a:pt x="18164" y="4962"/>
                </a:cubicBezTo>
                <a:cubicBezTo>
                  <a:pt x="18137" y="4962"/>
                  <a:pt x="18109" y="4964"/>
                  <a:pt x="18081" y="4968"/>
                </a:cubicBezTo>
                <a:lnTo>
                  <a:pt x="14346" y="5514"/>
                </a:lnTo>
                <a:cubicBezTo>
                  <a:pt x="13887" y="5584"/>
                  <a:pt x="13700" y="6145"/>
                  <a:pt x="14029" y="6475"/>
                </a:cubicBezTo>
                <a:lnTo>
                  <a:pt x="15222" y="7667"/>
                </a:lnTo>
                <a:lnTo>
                  <a:pt x="12359" y="10530"/>
                </a:lnTo>
                <a:lnTo>
                  <a:pt x="6879" y="7710"/>
                </a:lnTo>
                <a:cubicBezTo>
                  <a:pt x="6867" y="7703"/>
                  <a:pt x="6855" y="7697"/>
                  <a:pt x="6846" y="7694"/>
                </a:cubicBezTo>
                <a:lnTo>
                  <a:pt x="6831" y="7688"/>
                </a:lnTo>
                <a:lnTo>
                  <a:pt x="6794" y="7673"/>
                </a:lnTo>
                <a:lnTo>
                  <a:pt x="6776" y="7670"/>
                </a:lnTo>
                <a:cubicBezTo>
                  <a:pt x="6767" y="7667"/>
                  <a:pt x="6755" y="7664"/>
                  <a:pt x="6743" y="7661"/>
                </a:cubicBezTo>
                <a:lnTo>
                  <a:pt x="6728" y="7658"/>
                </a:lnTo>
                <a:cubicBezTo>
                  <a:pt x="6713" y="7655"/>
                  <a:pt x="6695" y="7652"/>
                  <a:pt x="6680" y="7649"/>
                </a:cubicBezTo>
                <a:lnTo>
                  <a:pt x="6553" y="7649"/>
                </a:lnTo>
                <a:cubicBezTo>
                  <a:pt x="6541" y="7649"/>
                  <a:pt x="6526" y="7655"/>
                  <a:pt x="6514" y="7655"/>
                </a:cubicBezTo>
                <a:lnTo>
                  <a:pt x="6495" y="7661"/>
                </a:lnTo>
                <a:cubicBezTo>
                  <a:pt x="6483" y="7661"/>
                  <a:pt x="6474" y="7664"/>
                  <a:pt x="6465" y="7667"/>
                </a:cubicBezTo>
                <a:lnTo>
                  <a:pt x="6447" y="7673"/>
                </a:lnTo>
                <a:cubicBezTo>
                  <a:pt x="6432" y="7679"/>
                  <a:pt x="6417" y="7682"/>
                  <a:pt x="6405" y="7688"/>
                </a:cubicBezTo>
                <a:lnTo>
                  <a:pt x="6387" y="7697"/>
                </a:lnTo>
                <a:lnTo>
                  <a:pt x="6360" y="7710"/>
                </a:lnTo>
                <a:lnTo>
                  <a:pt x="6341" y="7719"/>
                </a:lnTo>
                <a:cubicBezTo>
                  <a:pt x="6332" y="7725"/>
                  <a:pt x="6323" y="7731"/>
                  <a:pt x="6314" y="7737"/>
                </a:cubicBezTo>
                <a:lnTo>
                  <a:pt x="6299" y="7746"/>
                </a:lnTo>
                <a:cubicBezTo>
                  <a:pt x="6287" y="7752"/>
                  <a:pt x="6275" y="7761"/>
                  <a:pt x="6266" y="7770"/>
                </a:cubicBezTo>
                <a:lnTo>
                  <a:pt x="6260" y="7776"/>
                </a:lnTo>
                <a:lnTo>
                  <a:pt x="1133" y="11879"/>
                </a:lnTo>
                <a:lnTo>
                  <a:pt x="1133" y="569"/>
                </a:lnTo>
                <a:cubicBezTo>
                  <a:pt x="1133" y="255"/>
                  <a:pt x="879" y="1"/>
                  <a:pt x="565" y="1"/>
                </a:cubicBezTo>
                <a:close/>
              </a:path>
            </a:pathLst>
          </a:custGeom>
          <a:solidFill>
            <a:srgbClr val="0D559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rgbClr val="435D74"/>
              </a:solidFill>
            </a:endParaRPr>
          </a:p>
        </p:txBody>
      </p:sp>
      <p:sp>
        <p:nvSpPr>
          <p:cNvPr id="74" name="Retângulo 51">
            <a:extLst>
              <a:ext uri="{FF2B5EF4-FFF2-40B4-BE49-F238E27FC236}">
                <a16:creationId xmlns:a16="http://schemas.microsoft.com/office/drawing/2014/main" id="{50E45588-5A7D-46B2-812B-D92C6048240E}"/>
              </a:ext>
            </a:extLst>
          </p:cNvPr>
          <p:cNvSpPr/>
          <p:nvPr/>
        </p:nvSpPr>
        <p:spPr>
          <a:xfrm>
            <a:off x="2120575" y="4589423"/>
            <a:ext cx="1523644" cy="130032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2225" cap="flat" cmpd="sng" algn="ctr">
            <a:solidFill>
              <a:schemeClr val="tx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75" name="CaixaDeTexto 52">
            <a:extLst>
              <a:ext uri="{FF2B5EF4-FFF2-40B4-BE49-F238E27FC236}">
                <a16:creationId xmlns:a16="http://schemas.microsoft.com/office/drawing/2014/main" id="{D7056F6A-B934-4223-BA71-91FAF1CB7E59}"/>
              </a:ext>
            </a:extLst>
          </p:cNvPr>
          <p:cNvSpPr txBox="1"/>
          <p:nvPr/>
        </p:nvSpPr>
        <p:spPr>
          <a:xfrm>
            <a:off x="2099135" y="5224470"/>
            <a:ext cx="1523644" cy="646331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defRPr sz="1500" b="1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spcAft>
                <a:spcPts val="1200"/>
              </a:spcAft>
            </a:pPr>
            <a:r>
              <a:rPr lang="en-US" sz="1200" dirty="0" err="1">
                <a:solidFill>
                  <a:schemeClr val="accent1"/>
                </a:solidFill>
              </a:rPr>
              <a:t>Planificación</a:t>
            </a:r>
            <a:r>
              <a:rPr lang="en-US" sz="1200" dirty="0">
                <a:solidFill>
                  <a:schemeClr val="accent1"/>
                </a:solidFill>
              </a:rPr>
              <a:t> de </a:t>
            </a:r>
            <a:r>
              <a:rPr lang="en-US" sz="1200" dirty="0" err="1">
                <a:solidFill>
                  <a:schemeClr val="accent1"/>
                </a:solidFill>
              </a:rPr>
              <a:t>recursos</a:t>
            </a:r>
            <a:r>
              <a:rPr lang="en-US" sz="1200" dirty="0">
                <a:solidFill>
                  <a:schemeClr val="accent1"/>
                </a:solidFill>
              </a:rPr>
              <a:t> y </a:t>
            </a:r>
            <a:r>
              <a:rPr lang="en-US" sz="1200" dirty="0" err="1">
                <a:solidFill>
                  <a:schemeClr val="accent1"/>
                </a:solidFill>
              </a:rPr>
              <a:t>presuúesto</a:t>
            </a:r>
            <a:endParaRPr lang="en-US" sz="1200" dirty="0"/>
          </a:p>
        </p:txBody>
      </p:sp>
      <p:sp>
        <p:nvSpPr>
          <p:cNvPr id="86" name="Retângulo 51">
            <a:extLst>
              <a:ext uri="{FF2B5EF4-FFF2-40B4-BE49-F238E27FC236}">
                <a16:creationId xmlns:a16="http://schemas.microsoft.com/office/drawing/2014/main" id="{6D4B9962-492E-4FDC-8252-3F87905CE1C6}"/>
              </a:ext>
            </a:extLst>
          </p:cNvPr>
          <p:cNvSpPr/>
          <p:nvPr/>
        </p:nvSpPr>
        <p:spPr>
          <a:xfrm>
            <a:off x="4601590" y="4629302"/>
            <a:ext cx="1523644" cy="130032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2225" cap="flat" cmpd="sng" algn="ctr">
            <a:solidFill>
              <a:schemeClr val="tx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87" name="CaixaDeTexto 52">
            <a:extLst>
              <a:ext uri="{FF2B5EF4-FFF2-40B4-BE49-F238E27FC236}">
                <a16:creationId xmlns:a16="http://schemas.microsoft.com/office/drawing/2014/main" id="{EA686537-4691-4265-8671-6B34E0CA1DDA}"/>
              </a:ext>
            </a:extLst>
          </p:cNvPr>
          <p:cNvSpPr txBox="1"/>
          <p:nvPr/>
        </p:nvSpPr>
        <p:spPr>
          <a:xfrm>
            <a:off x="4591721" y="5467962"/>
            <a:ext cx="1523644" cy="461665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defRPr sz="1500" b="1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spcAft>
                <a:spcPts val="1200"/>
              </a:spcAft>
            </a:pPr>
            <a:r>
              <a:rPr lang="en-US" sz="1200" dirty="0">
                <a:solidFill>
                  <a:schemeClr val="accent1"/>
                </a:solidFill>
              </a:rPr>
              <a:t>Feedback con </a:t>
            </a:r>
            <a:r>
              <a:rPr lang="en-US" sz="1200" dirty="0" err="1">
                <a:solidFill>
                  <a:schemeClr val="accent1"/>
                </a:solidFill>
              </a:rPr>
              <a:t>usuarios</a:t>
            </a:r>
            <a:endParaRPr lang="en-US" sz="1200" dirty="0"/>
          </a:p>
        </p:txBody>
      </p:sp>
      <p:grpSp>
        <p:nvGrpSpPr>
          <p:cNvPr id="112" name="Google Shape;10542;p84">
            <a:extLst>
              <a:ext uri="{FF2B5EF4-FFF2-40B4-BE49-F238E27FC236}">
                <a16:creationId xmlns:a16="http://schemas.microsoft.com/office/drawing/2014/main" id="{6A6E1CEA-B90C-460B-B755-29AB9012D15C}"/>
              </a:ext>
            </a:extLst>
          </p:cNvPr>
          <p:cNvGrpSpPr/>
          <p:nvPr/>
        </p:nvGrpSpPr>
        <p:grpSpPr>
          <a:xfrm>
            <a:off x="7720159" y="4867621"/>
            <a:ext cx="429472" cy="461665"/>
            <a:chOff x="-48266125" y="1973375"/>
            <a:chExt cx="302450" cy="300125"/>
          </a:xfrm>
          <a:solidFill>
            <a:srgbClr val="0D5592"/>
          </a:solidFill>
        </p:grpSpPr>
        <p:sp>
          <p:nvSpPr>
            <p:cNvPr id="114" name="Google Shape;10543;p84">
              <a:extLst>
                <a:ext uri="{FF2B5EF4-FFF2-40B4-BE49-F238E27FC236}">
                  <a16:creationId xmlns:a16="http://schemas.microsoft.com/office/drawing/2014/main" id="{BF0A490D-8DA3-4370-A758-03120A702BAB}"/>
                </a:ext>
              </a:extLst>
            </p:cNvPr>
            <p:cNvSpPr/>
            <p:nvPr/>
          </p:nvSpPr>
          <p:spPr>
            <a:xfrm>
              <a:off x="-48212575" y="2045050"/>
              <a:ext cx="122900" cy="123700"/>
            </a:xfrm>
            <a:custGeom>
              <a:avLst/>
              <a:gdLst/>
              <a:ahLst/>
              <a:cxnLst/>
              <a:rect l="l" t="t" r="r" b="b"/>
              <a:pathLst>
                <a:path w="4916" h="4948" extrusionOk="0">
                  <a:moveTo>
                    <a:pt x="1765" y="662"/>
                  </a:moveTo>
                  <a:cubicBezTo>
                    <a:pt x="2237" y="662"/>
                    <a:pt x="2647" y="946"/>
                    <a:pt x="2741" y="1387"/>
                  </a:cubicBezTo>
                  <a:lnTo>
                    <a:pt x="1765" y="1387"/>
                  </a:lnTo>
                  <a:cubicBezTo>
                    <a:pt x="1576" y="1387"/>
                    <a:pt x="1418" y="1545"/>
                    <a:pt x="1418" y="1734"/>
                  </a:cubicBezTo>
                  <a:lnTo>
                    <a:pt x="1418" y="2710"/>
                  </a:lnTo>
                  <a:cubicBezTo>
                    <a:pt x="1009" y="2584"/>
                    <a:pt x="725" y="2206"/>
                    <a:pt x="725" y="1734"/>
                  </a:cubicBezTo>
                  <a:cubicBezTo>
                    <a:pt x="725" y="1135"/>
                    <a:pt x="1166" y="662"/>
                    <a:pt x="1765" y="662"/>
                  </a:cubicBezTo>
                  <a:close/>
                  <a:moveTo>
                    <a:pt x="2741" y="2080"/>
                  </a:moveTo>
                  <a:cubicBezTo>
                    <a:pt x="2647" y="2395"/>
                    <a:pt x="2395" y="2616"/>
                    <a:pt x="2111" y="2710"/>
                  </a:cubicBezTo>
                  <a:lnTo>
                    <a:pt x="2111" y="2080"/>
                  </a:lnTo>
                  <a:close/>
                  <a:moveTo>
                    <a:pt x="4254" y="2080"/>
                  </a:moveTo>
                  <a:lnTo>
                    <a:pt x="4254" y="4191"/>
                  </a:lnTo>
                  <a:lnTo>
                    <a:pt x="2143" y="4191"/>
                  </a:lnTo>
                  <a:lnTo>
                    <a:pt x="2143" y="3466"/>
                  </a:lnTo>
                  <a:cubicBezTo>
                    <a:pt x="2804" y="3309"/>
                    <a:pt x="3340" y="2805"/>
                    <a:pt x="3497" y="2080"/>
                  </a:cubicBezTo>
                  <a:close/>
                  <a:moveTo>
                    <a:pt x="1765" y="1"/>
                  </a:moveTo>
                  <a:cubicBezTo>
                    <a:pt x="788" y="1"/>
                    <a:pt x="0" y="788"/>
                    <a:pt x="0" y="1765"/>
                  </a:cubicBezTo>
                  <a:cubicBezTo>
                    <a:pt x="0" y="2616"/>
                    <a:pt x="599" y="3340"/>
                    <a:pt x="1418" y="3498"/>
                  </a:cubicBezTo>
                  <a:lnTo>
                    <a:pt x="1418" y="4601"/>
                  </a:lnTo>
                  <a:cubicBezTo>
                    <a:pt x="1418" y="4790"/>
                    <a:pt x="1576" y="4947"/>
                    <a:pt x="1765" y="4947"/>
                  </a:cubicBezTo>
                  <a:lnTo>
                    <a:pt x="4569" y="4947"/>
                  </a:lnTo>
                  <a:cubicBezTo>
                    <a:pt x="4758" y="4947"/>
                    <a:pt x="4915" y="4790"/>
                    <a:pt x="4915" y="4601"/>
                  </a:cubicBezTo>
                  <a:lnTo>
                    <a:pt x="4915" y="1797"/>
                  </a:lnTo>
                  <a:cubicBezTo>
                    <a:pt x="4915" y="1576"/>
                    <a:pt x="4758" y="1419"/>
                    <a:pt x="4600" y="1419"/>
                  </a:cubicBezTo>
                  <a:lnTo>
                    <a:pt x="3497" y="1419"/>
                  </a:lnTo>
                  <a:cubicBezTo>
                    <a:pt x="3340" y="631"/>
                    <a:pt x="2647" y="1"/>
                    <a:pt x="17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115" name="Google Shape;10544;p84">
              <a:extLst>
                <a:ext uri="{FF2B5EF4-FFF2-40B4-BE49-F238E27FC236}">
                  <a16:creationId xmlns:a16="http://schemas.microsoft.com/office/drawing/2014/main" id="{9C4DB6C0-4D5A-4BE1-AA6F-8076F2C7EFB3}"/>
                </a:ext>
              </a:extLst>
            </p:cNvPr>
            <p:cNvSpPr/>
            <p:nvPr/>
          </p:nvSpPr>
          <p:spPr>
            <a:xfrm>
              <a:off x="-48266125" y="1973375"/>
              <a:ext cx="230000" cy="300125"/>
            </a:xfrm>
            <a:custGeom>
              <a:avLst/>
              <a:gdLst/>
              <a:ahLst/>
              <a:cxnLst/>
              <a:rect l="l" t="t" r="r" b="b"/>
              <a:pathLst>
                <a:path w="9200" h="12005" extrusionOk="0">
                  <a:moveTo>
                    <a:pt x="7057" y="1198"/>
                  </a:moveTo>
                  <a:lnTo>
                    <a:pt x="7971" y="2112"/>
                  </a:lnTo>
                  <a:lnTo>
                    <a:pt x="7057" y="2112"/>
                  </a:lnTo>
                  <a:lnTo>
                    <a:pt x="7057" y="1198"/>
                  </a:lnTo>
                  <a:close/>
                  <a:moveTo>
                    <a:pt x="6396" y="694"/>
                  </a:moveTo>
                  <a:lnTo>
                    <a:pt x="6396" y="2458"/>
                  </a:lnTo>
                  <a:cubicBezTo>
                    <a:pt x="6396" y="2679"/>
                    <a:pt x="6553" y="2836"/>
                    <a:pt x="6742" y="2836"/>
                  </a:cubicBezTo>
                  <a:lnTo>
                    <a:pt x="8506" y="2836"/>
                  </a:lnTo>
                  <a:lnTo>
                    <a:pt x="8506" y="11280"/>
                  </a:lnTo>
                  <a:lnTo>
                    <a:pt x="756" y="11280"/>
                  </a:lnTo>
                  <a:lnTo>
                    <a:pt x="756" y="694"/>
                  </a:lnTo>
                  <a:close/>
                  <a:moveTo>
                    <a:pt x="378" y="1"/>
                  </a:moveTo>
                  <a:cubicBezTo>
                    <a:pt x="158" y="1"/>
                    <a:pt x="0" y="158"/>
                    <a:pt x="0" y="347"/>
                  </a:cubicBezTo>
                  <a:lnTo>
                    <a:pt x="0" y="11658"/>
                  </a:lnTo>
                  <a:cubicBezTo>
                    <a:pt x="0" y="11847"/>
                    <a:pt x="158" y="12004"/>
                    <a:pt x="378" y="12004"/>
                  </a:cubicBezTo>
                  <a:lnTo>
                    <a:pt x="8790" y="12004"/>
                  </a:lnTo>
                  <a:cubicBezTo>
                    <a:pt x="8979" y="12004"/>
                    <a:pt x="9136" y="11847"/>
                    <a:pt x="9136" y="11658"/>
                  </a:cubicBezTo>
                  <a:lnTo>
                    <a:pt x="9136" y="2458"/>
                  </a:lnTo>
                  <a:cubicBezTo>
                    <a:pt x="9199" y="2395"/>
                    <a:pt x="9168" y="2301"/>
                    <a:pt x="9073" y="2238"/>
                  </a:cubicBezTo>
                  <a:lnTo>
                    <a:pt x="6931" y="95"/>
                  </a:lnTo>
                  <a:cubicBezTo>
                    <a:pt x="6868" y="32"/>
                    <a:pt x="6805" y="1"/>
                    <a:pt x="671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" name="Google Shape;10545;p84">
              <a:extLst>
                <a:ext uri="{FF2B5EF4-FFF2-40B4-BE49-F238E27FC236}">
                  <a16:creationId xmlns:a16="http://schemas.microsoft.com/office/drawing/2014/main" id="{69A64F84-D00E-48B1-AE7F-54B05AE1E48B}"/>
                </a:ext>
              </a:extLst>
            </p:cNvPr>
            <p:cNvSpPr/>
            <p:nvPr/>
          </p:nvSpPr>
          <p:spPr>
            <a:xfrm>
              <a:off x="-48018025" y="1991500"/>
              <a:ext cx="54350" cy="282000"/>
            </a:xfrm>
            <a:custGeom>
              <a:avLst/>
              <a:gdLst/>
              <a:ahLst/>
              <a:cxnLst/>
              <a:rect l="l" t="t" r="r" b="b"/>
              <a:pathLst>
                <a:path w="2174" h="11280" extrusionOk="0">
                  <a:moveTo>
                    <a:pt x="1071" y="1481"/>
                  </a:moveTo>
                  <a:lnTo>
                    <a:pt x="1260" y="2111"/>
                  </a:lnTo>
                  <a:lnTo>
                    <a:pt x="851" y="2111"/>
                  </a:lnTo>
                  <a:lnTo>
                    <a:pt x="1071" y="1481"/>
                  </a:lnTo>
                  <a:close/>
                  <a:moveTo>
                    <a:pt x="1418" y="2836"/>
                  </a:moveTo>
                  <a:lnTo>
                    <a:pt x="1418" y="7247"/>
                  </a:lnTo>
                  <a:lnTo>
                    <a:pt x="725" y="7247"/>
                  </a:lnTo>
                  <a:lnTo>
                    <a:pt x="725" y="2836"/>
                  </a:lnTo>
                  <a:close/>
                  <a:moveTo>
                    <a:pt x="1418" y="7971"/>
                  </a:moveTo>
                  <a:lnTo>
                    <a:pt x="1418" y="8664"/>
                  </a:lnTo>
                  <a:lnTo>
                    <a:pt x="725" y="8664"/>
                  </a:lnTo>
                  <a:lnTo>
                    <a:pt x="725" y="7971"/>
                  </a:lnTo>
                  <a:close/>
                  <a:moveTo>
                    <a:pt x="1449" y="9357"/>
                  </a:moveTo>
                  <a:lnTo>
                    <a:pt x="1449" y="10208"/>
                  </a:lnTo>
                  <a:cubicBezTo>
                    <a:pt x="1418" y="10397"/>
                    <a:pt x="1260" y="10555"/>
                    <a:pt x="1071" y="10555"/>
                  </a:cubicBezTo>
                  <a:cubicBezTo>
                    <a:pt x="882" y="10555"/>
                    <a:pt x="725" y="10397"/>
                    <a:pt x="725" y="10208"/>
                  </a:cubicBezTo>
                  <a:lnTo>
                    <a:pt x="725" y="9357"/>
                  </a:lnTo>
                  <a:close/>
                  <a:moveTo>
                    <a:pt x="1071" y="0"/>
                  </a:moveTo>
                  <a:cubicBezTo>
                    <a:pt x="945" y="0"/>
                    <a:pt x="788" y="95"/>
                    <a:pt x="756" y="253"/>
                  </a:cubicBezTo>
                  <a:cubicBezTo>
                    <a:pt x="0" y="2489"/>
                    <a:pt x="63" y="2363"/>
                    <a:pt x="63" y="2458"/>
                  </a:cubicBezTo>
                  <a:lnTo>
                    <a:pt x="63" y="10208"/>
                  </a:lnTo>
                  <a:cubicBezTo>
                    <a:pt x="63" y="10807"/>
                    <a:pt x="536" y="11279"/>
                    <a:pt x="1103" y="11279"/>
                  </a:cubicBezTo>
                  <a:cubicBezTo>
                    <a:pt x="1701" y="11279"/>
                    <a:pt x="2174" y="10807"/>
                    <a:pt x="2174" y="10208"/>
                  </a:cubicBezTo>
                  <a:lnTo>
                    <a:pt x="2111" y="2458"/>
                  </a:lnTo>
                  <a:lnTo>
                    <a:pt x="2111" y="2458"/>
                  </a:lnTo>
                  <a:cubicBezTo>
                    <a:pt x="2121" y="2468"/>
                    <a:pt x="2128" y="2472"/>
                    <a:pt x="2132" y="2472"/>
                  </a:cubicBezTo>
                  <a:cubicBezTo>
                    <a:pt x="2139" y="2472"/>
                    <a:pt x="2132" y="2458"/>
                    <a:pt x="2111" y="2458"/>
                  </a:cubicBezTo>
                  <a:lnTo>
                    <a:pt x="2111" y="2458"/>
                  </a:lnTo>
                  <a:lnTo>
                    <a:pt x="2111" y="2458"/>
                  </a:lnTo>
                  <a:cubicBezTo>
                    <a:pt x="2111" y="2363"/>
                    <a:pt x="2142" y="2584"/>
                    <a:pt x="1386" y="253"/>
                  </a:cubicBezTo>
                  <a:cubicBezTo>
                    <a:pt x="1355" y="95"/>
                    <a:pt x="1197" y="0"/>
                    <a:pt x="107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" name="Google Shape;10546;p84">
              <a:extLst>
                <a:ext uri="{FF2B5EF4-FFF2-40B4-BE49-F238E27FC236}">
                  <a16:creationId xmlns:a16="http://schemas.microsoft.com/office/drawing/2014/main" id="{D3835643-EB9A-4AEE-821E-B07D6BA7ACDB}"/>
                </a:ext>
              </a:extLst>
            </p:cNvPr>
            <p:cNvSpPr/>
            <p:nvPr/>
          </p:nvSpPr>
          <p:spPr>
            <a:xfrm>
              <a:off x="-48211800" y="2221475"/>
              <a:ext cx="122900" cy="17350"/>
            </a:xfrm>
            <a:custGeom>
              <a:avLst/>
              <a:gdLst/>
              <a:ahLst/>
              <a:cxnLst/>
              <a:rect l="l" t="t" r="r" b="b"/>
              <a:pathLst>
                <a:path w="4916" h="694" extrusionOk="0">
                  <a:moveTo>
                    <a:pt x="347" y="1"/>
                  </a:moveTo>
                  <a:cubicBezTo>
                    <a:pt x="158" y="1"/>
                    <a:pt x="1" y="158"/>
                    <a:pt x="1" y="347"/>
                  </a:cubicBezTo>
                  <a:cubicBezTo>
                    <a:pt x="1" y="536"/>
                    <a:pt x="158" y="694"/>
                    <a:pt x="347" y="694"/>
                  </a:cubicBezTo>
                  <a:lnTo>
                    <a:pt x="4569" y="694"/>
                  </a:lnTo>
                  <a:cubicBezTo>
                    <a:pt x="4758" y="694"/>
                    <a:pt x="4916" y="536"/>
                    <a:pt x="4916" y="347"/>
                  </a:cubicBezTo>
                  <a:cubicBezTo>
                    <a:pt x="4884" y="158"/>
                    <a:pt x="4727" y="1"/>
                    <a:pt x="456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" name="Google Shape;10547;p84">
              <a:extLst>
                <a:ext uri="{FF2B5EF4-FFF2-40B4-BE49-F238E27FC236}">
                  <a16:creationId xmlns:a16="http://schemas.microsoft.com/office/drawing/2014/main" id="{CC6EEBAC-2B69-42C4-972F-33BED8258D1F}"/>
                </a:ext>
              </a:extLst>
            </p:cNvPr>
            <p:cNvSpPr/>
            <p:nvPr/>
          </p:nvSpPr>
          <p:spPr>
            <a:xfrm>
              <a:off x="-48211800" y="2185250"/>
              <a:ext cx="87450" cy="18150"/>
            </a:xfrm>
            <a:custGeom>
              <a:avLst/>
              <a:gdLst/>
              <a:ahLst/>
              <a:cxnLst/>
              <a:rect l="l" t="t" r="r" b="b"/>
              <a:pathLst>
                <a:path w="3498" h="726" extrusionOk="0">
                  <a:moveTo>
                    <a:pt x="347" y="1"/>
                  </a:moveTo>
                  <a:cubicBezTo>
                    <a:pt x="158" y="1"/>
                    <a:pt x="1" y="158"/>
                    <a:pt x="1" y="379"/>
                  </a:cubicBezTo>
                  <a:cubicBezTo>
                    <a:pt x="1" y="568"/>
                    <a:pt x="158" y="725"/>
                    <a:pt x="347" y="725"/>
                  </a:cubicBezTo>
                  <a:lnTo>
                    <a:pt x="3151" y="725"/>
                  </a:lnTo>
                  <a:cubicBezTo>
                    <a:pt x="3372" y="725"/>
                    <a:pt x="3498" y="568"/>
                    <a:pt x="3498" y="379"/>
                  </a:cubicBezTo>
                  <a:cubicBezTo>
                    <a:pt x="3498" y="158"/>
                    <a:pt x="3372" y="1"/>
                    <a:pt x="315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" name="Google Shape;10548;p84">
              <a:extLst>
                <a:ext uri="{FF2B5EF4-FFF2-40B4-BE49-F238E27FC236}">
                  <a16:creationId xmlns:a16="http://schemas.microsoft.com/office/drawing/2014/main" id="{09EE5F94-E3E3-4E3F-A5E2-4AF9B0AC0EA0}"/>
                </a:ext>
              </a:extLst>
            </p:cNvPr>
            <p:cNvSpPr/>
            <p:nvPr/>
          </p:nvSpPr>
          <p:spPr>
            <a:xfrm>
              <a:off x="-48106250" y="2185250"/>
              <a:ext cx="17350" cy="18150"/>
            </a:xfrm>
            <a:custGeom>
              <a:avLst/>
              <a:gdLst/>
              <a:ahLst/>
              <a:cxnLst/>
              <a:rect l="l" t="t" r="r" b="b"/>
              <a:pathLst>
                <a:path w="694" h="726" extrusionOk="0">
                  <a:moveTo>
                    <a:pt x="347" y="1"/>
                  </a:moveTo>
                  <a:cubicBezTo>
                    <a:pt x="158" y="1"/>
                    <a:pt x="1" y="190"/>
                    <a:pt x="1" y="379"/>
                  </a:cubicBezTo>
                  <a:cubicBezTo>
                    <a:pt x="1" y="568"/>
                    <a:pt x="158" y="725"/>
                    <a:pt x="347" y="725"/>
                  </a:cubicBezTo>
                  <a:cubicBezTo>
                    <a:pt x="536" y="725"/>
                    <a:pt x="694" y="568"/>
                    <a:pt x="694" y="379"/>
                  </a:cubicBezTo>
                  <a:cubicBezTo>
                    <a:pt x="694" y="190"/>
                    <a:pt x="536" y="1"/>
                    <a:pt x="34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1" name="CaixaDeTexto 52">
            <a:extLst>
              <a:ext uri="{FF2B5EF4-FFF2-40B4-BE49-F238E27FC236}">
                <a16:creationId xmlns:a16="http://schemas.microsoft.com/office/drawing/2014/main" id="{76ACBFEE-DD19-4172-89BA-F824459BC4CF}"/>
              </a:ext>
            </a:extLst>
          </p:cNvPr>
          <p:cNvSpPr txBox="1"/>
          <p:nvPr/>
        </p:nvSpPr>
        <p:spPr>
          <a:xfrm>
            <a:off x="7173073" y="5467962"/>
            <a:ext cx="1523644" cy="461665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defRPr sz="1500" b="1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spcAft>
                <a:spcPts val="1200"/>
              </a:spcAft>
            </a:pPr>
            <a:r>
              <a:rPr lang="en-US" sz="1200" dirty="0" err="1">
                <a:solidFill>
                  <a:schemeClr val="accent1"/>
                </a:solidFill>
              </a:rPr>
              <a:t>Seguimiento</a:t>
            </a:r>
            <a:r>
              <a:rPr lang="en-US" sz="1200" dirty="0">
                <a:solidFill>
                  <a:schemeClr val="accent1"/>
                </a:solidFill>
              </a:rPr>
              <a:t> y </a:t>
            </a:r>
            <a:r>
              <a:rPr lang="en-US" sz="1200" dirty="0" err="1">
                <a:solidFill>
                  <a:schemeClr val="accent1"/>
                </a:solidFill>
              </a:rPr>
              <a:t>mantenimiento</a:t>
            </a:r>
            <a:endParaRPr lang="en-US" sz="1200" dirty="0"/>
          </a:p>
        </p:txBody>
      </p:sp>
      <p:sp>
        <p:nvSpPr>
          <p:cNvPr id="139" name="Flecha: a la derecha 138">
            <a:extLst>
              <a:ext uri="{FF2B5EF4-FFF2-40B4-BE49-F238E27FC236}">
                <a16:creationId xmlns:a16="http://schemas.microsoft.com/office/drawing/2014/main" id="{A2F371F1-59D5-477A-8CB8-29472A2F2ECC}"/>
              </a:ext>
            </a:extLst>
          </p:cNvPr>
          <p:cNvSpPr/>
          <p:nvPr/>
        </p:nvSpPr>
        <p:spPr>
          <a:xfrm>
            <a:off x="5754811" y="1735746"/>
            <a:ext cx="309530" cy="900983"/>
          </a:xfrm>
          <a:prstGeom prst="rightArrow">
            <a:avLst>
              <a:gd name="adj1" fmla="val 72305"/>
              <a:gd name="adj2" fmla="val 72724"/>
            </a:avLst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40" name="Flecha: a la derecha 139">
            <a:extLst>
              <a:ext uri="{FF2B5EF4-FFF2-40B4-BE49-F238E27FC236}">
                <a16:creationId xmlns:a16="http://schemas.microsoft.com/office/drawing/2014/main" id="{449421CC-F035-4195-870C-B4AB3AF28476}"/>
              </a:ext>
            </a:extLst>
          </p:cNvPr>
          <p:cNvSpPr/>
          <p:nvPr/>
        </p:nvSpPr>
        <p:spPr>
          <a:xfrm>
            <a:off x="8065317" y="1707690"/>
            <a:ext cx="309530" cy="900983"/>
          </a:xfrm>
          <a:prstGeom prst="rightArrow">
            <a:avLst>
              <a:gd name="adj1" fmla="val 72305"/>
              <a:gd name="adj2" fmla="val 72724"/>
            </a:avLst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grpSp>
        <p:nvGrpSpPr>
          <p:cNvPr id="143" name="Google Shape;11145;p86">
            <a:extLst>
              <a:ext uri="{FF2B5EF4-FFF2-40B4-BE49-F238E27FC236}">
                <a16:creationId xmlns:a16="http://schemas.microsoft.com/office/drawing/2014/main" id="{453D9822-B051-4702-B9DF-4B18EFBD07E2}"/>
              </a:ext>
            </a:extLst>
          </p:cNvPr>
          <p:cNvGrpSpPr/>
          <p:nvPr/>
        </p:nvGrpSpPr>
        <p:grpSpPr>
          <a:xfrm>
            <a:off x="9092009" y="1580872"/>
            <a:ext cx="644844" cy="624419"/>
            <a:chOff x="-3854375" y="2405000"/>
            <a:chExt cx="294600" cy="293800"/>
          </a:xfrm>
          <a:solidFill>
            <a:srgbClr val="0D5592"/>
          </a:solidFill>
        </p:grpSpPr>
        <p:sp>
          <p:nvSpPr>
            <p:cNvPr id="144" name="Google Shape;11146;p86">
              <a:extLst>
                <a:ext uri="{FF2B5EF4-FFF2-40B4-BE49-F238E27FC236}">
                  <a16:creationId xmlns:a16="http://schemas.microsoft.com/office/drawing/2014/main" id="{4DB97EC4-88FA-4D63-8F28-D415F77DAF1F}"/>
                </a:ext>
              </a:extLst>
            </p:cNvPr>
            <p:cNvSpPr/>
            <p:nvPr/>
          </p:nvSpPr>
          <p:spPr>
            <a:xfrm>
              <a:off x="-3854375" y="2405000"/>
              <a:ext cx="294600" cy="293800"/>
            </a:xfrm>
            <a:custGeom>
              <a:avLst/>
              <a:gdLst/>
              <a:ahLst/>
              <a:cxnLst/>
              <a:rect l="l" t="t" r="r" b="b"/>
              <a:pathLst>
                <a:path w="11784" h="11752" extrusionOk="0">
                  <a:moveTo>
                    <a:pt x="6994" y="694"/>
                  </a:moveTo>
                  <a:lnTo>
                    <a:pt x="6994" y="1103"/>
                  </a:lnTo>
                  <a:cubicBezTo>
                    <a:pt x="6994" y="1261"/>
                    <a:pt x="7120" y="1387"/>
                    <a:pt x="7278" y="1418"/>
                  </a:cubicBezTo>
                  <a:cubicBezTo>
                    <a:pt x="7467" y="1481"/>
                    <a:pt x="7719" y="1576"/>
                    <a:pt x="7908" y="1702"/>
                  </a:cubicBezTo>
                  <a:cubicBezTo>
                    <a:pt x="7954" y="1736"/>
                    <a:pt x="8009" y="1750"/>
                    <a:pt x="8066" y="1750"/>
                  </a:cubicBezTo>
                  <a:cubicBezTo>
                    <a:pt x="8164" y="1750"/>
                    <a:pt x="8269" y="1710"/>
                    <a:pt x="8349" y="1670"/>
                  </a:cubicBezTo>
                  <a:lnTo>
                    <a:pt x="8664" y="1355"/>
                  </a:lnTo>
                  <a:lnTo>
                    <a:pt x="9137" y="1828"/>
                  </a:lnTo>
                  <a:lnTo>
                    <a:pt x="8822" y="2143"/>
                  </a:lnTo>
                  <a:cubicBezTo>
                    <a:pt x="8696" y="2269"/>
                    <a:pt x="8696" y="2426"/>
                    <a:pt x="8759" y="2584"/>
                  </a:cubicBezTo>
                  <a:cubicBezTo>
                    <a:pt x="8885" y="2773"/>
                    <a:pt x="8979" y="2962"/>
                    <a:pt x="9042" y="3214"/>
                  </a:cubicBezTo>
                  <a:cubicBezTo>
                    <a:pt x="9074" y="3372"/>
                    <a:pt x="9200" y="3466"/>
                    <a:pt x="9357" y="3466"/>
                  </a:cubicBezTo>
                  <a:lnTo>
                    <a:pt x="9798" y="3466"/>
                  </a:lnTo>
                  <a:lnTo>
                    <a:pt x="9798" y="4159"/>
                  </a:lnTo>
                  <a:lnTo>
                    <a:pt x="9357" y="4159"/>
                  </a:lnTo>
                  <a:cubicBezTo>
                    <a:pt x="9200" y="4159"/>
                    <a:pt x="9074" y="4222"/>
                    <a:pt x="9042" y="4380"/>
                  </a:cubicBezTo>
                  <a:cubicBezTo>
                    <a:pt x="9011" y="4569"/>
                    <a:pt x="8885" y="4821"/>
                    <a:pt x="8759" y="5010"/>
                  </a:cubicBezTo>
                  <a:cubicBezTo>
                    <a:pt x="8696" y="5136"/>
                    <a:pt x="8727" y="5325"/>
                    <a:pt x="8822" y="5451"/>
                  </a:cubicBezTo>
                  <a:lnTo>
                    <a:pt x="9137" y="5766"/>
                  </a:lnTo>
                  <a:lnTo>
                    <a:pt x="8664" y="6238"/>
                  </a:lnTo>
                  <a:lnTo>
                    <a:pt x="8349" y="5923"/>
                  </a:lnTo>
                  <a:cubicBezTo>
                    <a:pt x="8275" y="5850"/>
                    <a:pt x="8191" y="5819"/>
                    <a:pt x="8101" y="5819"/>
                  </a:cubicBezTo>
                  <a:cubicBezTo>
                    <a:pt x="8038" y="5819"/>
                    <a:pt x="7973" y="5834"/>
                    <a:pt x="7908" y="5860"/>
                  </a:cubicBezTo>
                  <a:cubicBezTo>
                    <a:pt x="7719" y="5986"/>
                    <a:pt x="7498" y="6081"/>
                    <a:pt x="7278" y="6144"/>
                  </a:cubicBezTo>
                  <a:cubicBezTo>
                    <a:pt x="7120" y="6175"/>
                    <a:pt x="6994" y="6301"/>
                    <a:pt x="6994" y="6459"/>
                  </a:cubicBezTo>
                  <a:lnTo>
                    <a:pt x="6994" y="6900"/>
                  </a:lnTo>
                  <a:lnTo>
                    <a:pt x="6333" y="6900"/>
                  </a:lnTo>
                  <a:lnTo>
                    <a:pt x="6333" y="6459"/>
                  </a:lnTo>
                  <a:cubicBezTo>
                    <a:pt x="6333" y="6301"/>
                    <a:pt x="6207" y="6207"/>
                    <a:pt x="6049" y="6144"/>
                  </a:cubicBezTo>
                  <a:cubicBezTo>
                    <a:pt x="5860" y="6112"/>
                    <a:pt x="5608" y="5986"/>
                    <a:pt x="5419" y="5860"/>
                  </a:cubicBezTo>
                  <a:cubicBezTo>
                    <a:pt x="5374" y="5838"/>
                    <a:pt x="5322" y="5828"/>
                    <a:pt x="5267" y="5828"/>
                  </a:cubicBezTo>
                  <a:cubicBezTo>
                    <a:pt x="5167" y="5828"/>
                    <a:pt x="5059" y="5862"/>
                    <a:pt x="4978" y="5923"/>
                  </a:cubicBezTo>
                  <a:lnTo>
                    <a:pt x="4663" y="6238"/>
                  </a:lnTo>
                  <a:lnTo>
                    <a:pt x="4190" y="5766"/>
                  </a:lnTo>
                  <a:lnTo>
                    <a:pt x="4505" y="5451"/>
                  </a:lnTo>
                  <a:cubicBezTo>
                    <a:pt x="4631" y="5325"/>
                    <a:pt x="4631" y="5167"/>
                    <a:pt x="4568" y="5010"/>
                  </a:cubicBezTo>
                  <a:cubicBezTo>
                    <a:pt x="4442" y="4821"/>
                    <a:pt x="4348" y="4632"/>
                    <a:pt x="4285" y="4380"/>
                  </a:cubicBezTo>
                  <a:cubicBezTo>
                    <a:pt x="4253" y="4254"/>
                    <a:pt x="4127" y="4159"/>
                    <a:pt x="4001" y="4159"/>
                  </a:cubicBezTo>
                  <a:lnTo>
                    <a:pt x="3529" y="4159"/>
                  </a:lnTo>
                  <a:lnTo>
                    <a:pt x="3529" y="3466"/>
                  </a:lnTo>
                  <a:lnTo>
                    <a:pt x="3970" y="3466"/>
                  </a:lnTo>
                  <a:cubicBezTo>
                    <a:pt x="4127" y="3466"/>
                    <a:pt x="4253" y="3372"/>
                    <a:pt x="4285" y="3214"/>
                  </a:cubicBezTo>
                  <a:cubicBezTo>
                    <a:pt x="4316" y="2993"/>
                    <a:pt x="4442" y="2773"/>
                    <a:pt x="4568" y="2584"/>
                  </a:cubicBezTo>
                  <a:cubicBezTo>
                    <a:pt x="4631" y="2458"/>
                    <a:pt x="4600" y="2269"/>
                    <a:pt x="4505" y="2143"/>
                  </a:cubicBezTo>
                  <a:lnTo>
                    <a:pt x="4190" y="1828"/>
                  </a:lnTo>
                  <a:lnTo>
                    <a:pt x="4663" y="1355"/>
                  </a:lnTo>
                  <a:lnTo>
                    <a:pt x="4978" y="1670"/>
                  </a:lnTo>
                  <a:cubicBezTo>
                    <a:pt x="5046" y="1738"/>
                    <a:pt x="5122" y="1769"/>
                    <a:pt x="5203" y="1769"/>
                  </a:cubicBezTo>
                  <a:cubicBezTo>
                    <a:pt x="5273" y="1769"/>
                    <a:pt x="5346" y="1746"/>
                    <a:pt x="5419" y="1702"/>
                  </a:cubicBezTo>
                  <a:cubicBezTo>
                    <a:pt x="5608" y="1576"/>
                    <a:pt x="5829" y="1513"/>
                    <a:pt x="6049" y="1418"/>
                  </a:cubicBezTo>
                  <a:cubicBezTo>
                    <a:pt x="6207" y="1387"/>
                    <a:pt x="6333" y="1261"/>
                    <a:pt x="6333" y="1103"/>
                  </a:cubicBezTo>
                  <a:lnTo>
                    <a:pt x="6333" y="694"/>
                  </a:lnTo>
                  <a:close/>
                  <a:moveTo>
                    <a:pt x="10964" y="4821"/>
                  </a:moveTo>
                  <a:lnTo>
                    <a:pt x="9830" y="8255"/>
                  </a:lnTo>
                  <a:lnTo>
                    <a:pt x="2773" y="8255"/>
                  </a:lnTo>
                  <a:lnTo>
                    <a:pt x="2143" y="4821"/>
                  </a:lnTo>
                  <a:lnTo>
                    <a:pt x="3686" y="4821"/>
                  </a:lnTo>
                  <a:cubicBezTo>
                    <a:pt x="3718" y="4947"/>
                    <a:pt x="3781" y="5010"/>
                    <a:pt x="3812" y="5136"/>
                  </a:cubicBezTo>
                  <a:lnTo>
                    <a:pt x="3466" y="5482"/>
                  </a:lnTo>
                  <a:cubicBezTo>
                    <a:pt x="3340" y="5608"/>
                    <a:pt x="3340" y="5829"/>
                    <a:pt x="3466" y="5955"/>
                  </a:cubicBezTo>
                  <a:lnTo>
                    <a:pt x="4442" y="6932"/>
                  </a:lnTo>
                  <a:cubicBezTo>
                    <a:pt x="4505" y="6995"/>
                    <a:pt x="4592" y="7026"/>
                    <a:pt x="4679" y="7026"/>
                  </a:cubicBezTo>
                  <a:cubicBezTo>
                    <a:pt x="4765" y="7026"/>
                    <a:pt x="4852" y="6995"/>
                    <a:pt x="4915" y="6932"/>
                  </a:cubicBezTo>
                  <a:lnTo>
                    <a:pt x="5262" y="6585"/>
                  </a:lnTo>
                  <a:cubicBezTo>
                    <a:pt x="5356" y="6617"/>
                    <a:pt x="5451" y="6680"/>
                    <a:pt x="5577" y="6711"/>
                  </a:cubicBezTo>
                  <a:lnTo>
                    <a:pt x="5577" y="7215"/>
                  </a:lnTo>
                  <a:cubicBezTo>
                    <a:pt x="5577" y="7404"/>
                    <a:pt x="5734" y="7562"/>
                    <a:pt x="5923" y="7562"/>
                  </a:cubicBezTo>
                  <a:lnTo>
                    <a:pt x="7309" y="7562"/>
                  </a:lnTo>
                  <a:cubicBezTo>
                    <a:pt x="7498" y="7562"/>
                    <a:pt x="7656" y="7404"/>
                    <a:pt x="7656" y="7215"/>
                  </a:cubicBezTo>
                  <a:lnTo>
                    <a:pt x="7656" y="6711"/>
                  </a:lnTo>
                  <a:cubicBezTo>
                    <a:pt x="7782" y="6680"/>
                    <a:pt x="7876" y="6617"/>
                    <a:pt x="7971" y="6585"/>
                  </a:cubicBezTo>
                  <a:lnTo>
                    <a:pt x="8349" y="6932"/>
                  </a:lnTo>
                  <a:cubicBezTo>
                    <a:pt x="8396" y="6995"/>
                    <a:pt x="8483" y="7026"/>
                    <a:pt x="8574" y="7026"/>
                  </a:cubicBezTo>
                  <a:cubicBezTo>
                    <a:pt x="8664" y="7026"/>
                    <a:pt x="8759" y="6995"/>
                    <a:pt x="8822" y="6932"/>
                  </a:cubicBezTo>
                  <a:lnTo>
                    <a:pt x="9798" y="5955"/>
                  </a:lnTo>
                  <a:cubicBezTo>
                    <a:pt x="9924" y="5829"/>
                    <a:pt x="9924" y="5608"/>
                    <a:pt x="9798" y="5482"/>
                  </a:cubicBezTo>
                  <a:lnTo>
                    <a:pt x="9452" y="5136"/>
                  </a:lnTo>
                  <a:cubicBezTo>
                    <a:pt x="9483" y="5041"/>
                    <a:pt x="9515" y="4947"/>
                    <a:pt x="9546" y="4821"/>
                  </a:cubicBezTo>
                  <a:close/>
                  <a:moveTo>
                    <a:pt x="3907" y="10334"/>
                  </a:moveTo>
                  <a:cubicBezTo>
                    <a:pt x="4096" y="10366"/>
                    <a:pt x="4253" y="10523"/>
                    <a:pt x="4253" y="10681"/>
                  </a:cubicBezTo>
                  <a:cubicBezTo>
                    <a:pt x="4253" y="10870"/>
                    <a:pt x="4096" y="11027"/>
                    <a:pt x="3907" y="11027"/>
                  </a:cubicBezTo>
                  <a:cubicBezTo>
                    <a:pt x="3686" y="11027"/>
                    <a:pt x="3529" y="10870"/>
                    <a:pt x="3529" y="10681"/>
                  </a:cubicBezTo>
                  <a:cubicBezTo>
                    <a:pt x="3529" y="10492"/>
                    <a:pt x="3686" y="10334"/>
                    <a:pt x="3907" y="10334"/>
                  </a:cubicBezTo>
                  <a:close/>
                  <a:moveTo>
                    <a:pt x="8664" y="10334"/>
                  </a:moveTo>
                  <a:cubicBezTo>
                    <a:pt x="8853" y="10366"/>
                    <a:pt x="9011" y="10523"/>
                    <a:pt x="9011" y="10681"/>
                  </a:cubicBezTo>
                  <a:cubicBezTo>
                    <a:pt x="9011" y="10870"/>
                    <a:pt x="8853" y="11027"/>
                    <a:pt x="8664" y="11027"/>
                  </a:cubicBezTo>
                  <a:cubicBezTo>
                    <a:pt x="8444" y="11027"/>
                    <a:pt x="8286" y="10870"/>
                    <a:pt x="8286" y="10681"/>
                  </a:cubicBezTo>
                  <a:cubicBezTo>
                    <a:pt x="8286" y="10492"/>
                    <a:pt x="8444" y="10334"/>
                    <a:pt x="8664" y="10334"/>
                  </a:cubicBezTo>
                  <a:close/>
                  <a:moveTo>
                    <a:pt x="5892" y="0"/>
                  </a:moveTo>
                  <a:cubicBezTo>
                    <a:pt x="5703" y="0"/>
                    <a:pt x="5545" y="158"/>
                    <a:pt x="5545" y="379"/>
                  </a:cubicBezTo>
                  <a:lnTo>
                    <a:pt x="5545" y="883"/>
                  </a:lnTo>
                  <a:cubicBezTo>
                    <a:pt x="5419" y="914"/>
                    <a:pt x="5356" y="946"/>
                    <a:pt x="5230" y="1009"/>
                  </a:cubicBezTo>
                  <a:lnTo>
                    <a:pt x="4883" y="631"/>
                  </a:lnTo>
                  <a:cubicBezTo>
                    <a:pt x="4820" y="583"/>
                    <a:pt x="4734" y="560"/>
                    <a:pt x="4647" y="560"/>
                  </a:cubicBezTo>
                  <a:cubicBezTo>
                    <a:pt x="4561" y="560"/>
                    <a:pt x="4474" y="583"/>
                    <a:pt x="4411" y="631"/>
                  </a:cubicBezTo>
                  <a:lnTo>
                    <a:pt x="3434" y="1639"/>
                  </a:lnTo>
                  <a:cubicBezTo>
                    <a:pt x="3308" y="1733"/>
                    <a:pt x="3308" y="1985"/>
                    <a:pt x="3434" y="2111"/>
                  </a:cubicBezTo>
                  <a:lnTo>
                    <a:pt x="3781" y="2458"/>
                  </a:lnTo>
                  <a:cubicBezTo>
                    <a:pt x="3718" y="2521"/>
                    <a:pt x="3686" y="2647"/>
                    <a:pt x="3655" y="2773"/>
                  </a:cubicBezTo>
                  <a:lnTo>
                    <a:pt x="3151" y="2773"/>
                  </a:lnTo>
                  <a:cubicBezTo>
                    <a:pt x="2930" y="2773"/>
                    <a:pt x="2773" y="2930"/>
                    <a:pt x="2773" y="3119"/>
                  </a:cubicBezTo>
                  <a:lnTo>
                    <a:pt x="2773" y="4159"/>
                  </a:lnTo>
                  <a:lnTo>
                    <a:pt x="1985" y="4159"/>
                  </a:lnTo>
                  <a:lnTo>
                    <a:pt x="1765" y="2930"/>
                  </a:lnTo>
                  <a:cubicBezTo>
                    <a:pt x="1670" y="2458"/>
                    <a:pt x="1197" y="2111"/>
                    <a:pt x="693" y="2111"/>
                  </a:cubicBezTo>
                  <a:lnTo>
                    <a:pt x="347" y="2111"/>
                  </a:lnTo>
                  <a:cubicBezTo>
                    <a:pt x="158" y="2111"/>
                    <a:pt x="0" y="2269"/>
                    <a:pt x="0" y="2458"/>
                  </a:cubicBezTo>
                  <a:cubicBezTo>
                    <a:pt x="0" y="2647"/>
                    <a:pt x="158" y="2804"/>
                    <a:pt x="347" y="2804"/>
                  </a:cubicBezTo>
                  <a:lnTo>
                    <a:pt x="693" y="2804"/>
                  </a:lnTo>
                  <a:cubicBezTo>
                    <a:pt x="882" y="2804"/>
                    <a:pt x="1103" y="2930"/>
                    <a:pt x="1103" y="3088"/>
                  </a:cubicBezTo>
                  <a:lnTo>
                    <a:pt x="2080" y="8570"/>
                  </a:lnTo>
                  <a:cubicBezTo>
                    <a:pt x="1891" y="8759"/>
                    <a:pt x="1765" y="9042"/>
                    <a:pt x="1765" y="9357"/>
                  </a:cubicBezTo>
                  <a:cubicBezTo>
                    <a:pt x="1765" y="9861"/>
                    <a:pt x="2143" y="10366"/>
                    <a:pt x="2867" y="10366"/>
                  </a:cubicBezTo>
                  <a:cubicBezTo>
                    <a:pt x="2836" y="10492"/>
                    <a:pt x="2836" y="10618"/>
                    <a:pt x="2836" y="10712"/>
                  </a:cubicBezTo>
                  <a:cubicBezTo>
                    <a:pt x="2836" y="11279"/>
                    <a:pt x="3308" y="11752"/>
                    <a:pt x="3844" y="11752"/>
                  </a:cubicBezTo>
                  <a:cubicBezTo>
                    <a:pt x="4411" y="11752"/>
                    <a:pt x="4883" y="11279"/>
                    <a:pt x="4883" y="10712"/>
                  </a:cubicBezTo>
                  <a:cubicBezTo>
                    <a:pt x="4883" y="10618"/>
                    <a:pt x="4820" y="10492"/>
                    <a:pt x="4820" y="10366"/>
                  </a:cubicBezTo>
                  <a:lnTo>
                    <a:pt x="7719" y="10366"/>
                  </a:lnTo>
                  <a:cubicBezTo>
                    <a:pt x="7656" y="10492"/>
                    <a:pt x="7656" y="10618"/>
                    <a:pt x="7656" y="10712"/>
                  </a:cubicBezTo>
                  <a:cubicBezTo>
                    <a:pt x="7656" y="11279"/>
                    <a:pt x="8129" y="11752"/>
                    <a:pt x="8696" y="11752"/>
                  </a:cubicBezTo>
                  <a:cubicBezTo>
                    <a:pt x="9231" y="11752"/>
                    <a:pt x="9735" y="11279"/>
                    <a:pt x="9735" y="10712"/>
                  </a:cubicBezTo>
                  <a:cubicBezTo>
                    <a:pt x="9735" y="10618"/>
                    <a:pt x="9672" y="10492"/>
                    <a:pt x="9672" y="10366"/>
                  </a:cubicBezTo>
                  <a:lnTo>
                    <a:pt x="10082" y="10366"/>
                  </a:lnTo>
                  <a:cubicBezTo>
                    <a:pt x="10271" y="10366"/>
                    <a:pt x="10428" y="10208"/>
                    <a:pt x="10428" y="10019"/>
                  </a:cubicBezTo>
                  <a:cubicBezTo>
                    <a:pt x="10428" y="9830"/>
                    <a:pt x="10271" y="9672"/>
                    <a:pt x="10082" y="9672"/>
                  </a:cubicBezTo>
                  <a:lnTo>
                    <a:pt x="2867" y="9672"/>
                  </a:lnTo>
                  <a:cubicBezTo>
                    <a:pt x="2678" y="9672"/>
                    <a:pt x="2521" y="9515"/>
                    <a:pt x="2521" y="9294"/>
                  </a:cubicBezTo>
                  <a:cubicBezTo>
                    <a:pt x="2521" y="9137"/>
                    <a:pt x="2678" y="8948"/>
                    <a:pt x="2867" y="8948"/>
                  </a:cubicBezTo>
                  <a:lnTo>
                    <a:pt x="10082" y="8948"/>
                  </a:lnTo>
                  <a:cubicBezTo>
                    <a:pt x="10239" y="8948"/>
                    <a:pt x="10334" y="8885"/>
                    <a:pt x="10397" y="8727"/>
                  </a:cubicBezTo>
                  <a:lnTo>
                    <a:pt x="11720" y="4663"/>
                  </a:lnTo>
                  <a:cubicBezTo>
                    <a:pt x="11783" y="4537"/>
                    <a:pt x="11720" y="4411"/>
                    <a:pt x="11689" y="4348"/>
                  </a:cubicBezTo>
                  <a:cubicBezTo>
                    <a:pt x="11563" y="4191"/>
                    <a:pt x="11405" y="4191"/>
                    <a:pt x="11279" y="4191"/>
                  </a:cubicBezTo>
                  <a:lnTo>
                    <a:pt x="10397" y="4191"/>
                  </a:lnTo>
                  <a:lnTo>
                    <a:pt x="10397" y="3119"/>
                  </a:lnTo>
                  <a:cubicBezTo>
                    <a:pt x="10397" y="2930"/>
                    <a:pt x="10239" y="2773"/>
                    <a:pt x="10019" y="2773"/>
                  </a:cubicBezTo>
                  <a:lnTo>
                    <a:pt x="9515" y="2773"/>
                  </a:lnTo>
                  <a:cubicBezTo>
                    <a:pt x="9483" y="2647"/>
                    <a:pt x="9452" y="2584"/>
                    <a:pt x="9389" y="2458"/>
                  </a:cubicBezTo>
                  <a:lnTo>
                    <a:pt x="9767" y="2080"/>
                  </a:lnTo>
                  <a:cubicBezTo>
                    <a:pt x="9861" y="1985"/>
                    <a:pt x="9861" y="1733"/>
                    <a:pt x="9767" y="1607"/>
                  </a:cubicBezTo>
                  <a:lnTo>
                    <a:pt x="8759" y="631"/>
                  </a:lnTo>
                  <a:cubicBezTo>
                    <a:pt x="8711" y="568"/>
                    <a:pt x="8625" y="536"/>
                    <a:pt x="8534" y="536"/>
                  </a:cubicBezTo>
                  <a:cubicBezTo>
                    <a:pt x="8444" y="536"/>
                    <a:pt x="8349" y="568"/>
                    <a:pt x="8286" y="631"/>
                  </a:cubicBezTo>
                  <a:lnTo>
                    <a:pt x="7939" y="1009"/>
                  </a:lnTo>
                  <a:cubicBezTo>
                    <a:pt x="7876" y="946"/>
                    <a:pt x="7750" y="914"/>
                    <a:pt x="7624" y="883"/>
                  </a:cubicBezTo>
                  <a:lnTo>
                    <a:pt x="7624" y="379"/>
                  </a:lnTo>
                  <a:cubicBezTo>
                    <a:pt x="7624" y="158"/>
                    <a:pt x="7467" y="0"/>
                    <a:pt x="727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" name="Google Shape;11147;p86">
              <a:extLst>
                <a:ext uri="{FF2B5EF4-FFF2-40B4-BE49-F238E27FC236}">
                  <a16:creationId xmlns:a16="http://schemas.microsoft.com/office/drawing/2014/main" id="{F5C98B05-80FA-46EC-B035-595360645944}"/>
                </a:ext>
              </a:extLst>
            </p:cNvPr>
            <p:cNvSpPr/>
            <p:nvPr/>
          </p:nvSpPr>
          <p:spPr>
            <a:xfrm>
              <a:off x="-3731500" y="2458550"/>
              <a:ext cx="84300" cy="84300"/>
            </a:xfrm>
            <a:custGeom>
              <a:avLst/>
              <a:gdLst/>
              <a:ahLst/>
              <a:cxnLst/>
              <a:rect l="l" t="t" r="r" b="b"/>
              <a:pathLst>
                <a:path w="3372" h="3372" extrusionOk="0">
                  <a:moveTo>
                    <a:pt x="1701" y="631"/>
                  </a:moveTo>
                  <a:cubicBezTo>
                    <a:pt x="2237" y="631"/>
                    <a:pt x="2709" y="1103"/>
                    <a:pt x="2709" y="1639"/>
                  </a:cubicBezTo>
                  <a:cubicBezTo>
                    <a:pt x="2709" y="2206"/>
                    <a:pt x="2237" y="2679"/>
                    <a:pt x="1701" y="2679"/>
                  </a:cubicBezTo>
                  <a:cubicBezTo>
                    <a:pt x="1134" y="2679"/>
                    <a:pt x="662" y="2206"/>
                    <a:pt x="662" y="1639"/>
                  </a:cubicBezTo>
                  <a:cubicBezTo>
                    <a:pt x="662" y="1103"/>
                    <a:pt x="1134" y="631"/>
                    <a:pt x="1701" y="631"/>
                  </a:cubicBezTo>
                  <a:close/>
                  <a:moveTo>
                    <a:pt x="1701" y="1"/>
                  </a:moveTo>
                  <a:cubicBezTo>
                    <a:pt x="756" y="1"/>
                    <a:pt x="0" y="725"/>
                    <a:pt x="0" y="1702"/>
                  </a:cubicBezTo>
                  <a:cubicBezTo>
                    <a:pt x="0" y="2647"/>
                    <a:pt x="756" y="3372"/>
                    <a:pt x="1701" y="3372"/>
                  </a:cubicBezTo>
                  <a:cubicBezTo>
                    <a:pt x="2646" y="3372"/>
                    <a:pt x="3371" y="2647"/>
                    <a:pt x="3371" y="1702"/>
                  </a:cubicBezTo>
                  <a:cubicBezTo>
                    <a:pt x="3371" y="725"/>
                    <a:pt x="2646" y="1"/>
                    <a:pt x="170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46" name="Google Shape;11149;p86">
            <a:extLst>
              <a:ext uri="{FF2B5EF4-FFF2-40B4-BE49-F238E27FC236}">
                <a16:creationId xmlns:a16="http://schemas.microsoft.com/office/drawing/2014/main" id="{9214D9F5-46D6-4649-B41B-D7C01EB71FF1}"/>
              </a:ext>
            </a:extLst>
          </p:cNvPr>
          <p:cNvSpPr/>
          <p:nvPr/>
        </p:nvSpPr>
        <p:spPr>
          <a:xfrm>
            <a:off x="6848252" y="1737600"/>
            <a:ext cx="420796" cy="423033"/>
          </a:xfrm>
          <a:custGeom>
            <a:avLst/>
            <a:gdLst/>
            <a:ahLst/>
            <a:cxnLst/>
            <a:rect l="l" t="t" r="r" b="b"/>
            <a:pathLst>
              <a:path w="11658" h="11720" extrusionOk="0">
                <a:moveTo>
                  <a:pt x="4380" y="693"/>
                </a:moveTo>
                <a:cubicBezTo>
                  <a:pt x="6774" y="693"/>
                  <a:pt x="8161" y="1355"/>
                  <a:pt x="8161" y="1733"/>
                </a:cubicBezTo>
                <a:cubicBezTo>
                  <a:pt x="8161" y="2080"/>
                  <a:pt x="6774" y="2741"/>
                  <a:pt x="4380" y="2741"/>
                </a:cubicBezTo>
                <a:cubicBezTo>
                  <a:pt x="1986" y="2741"/>
                  <a:pt x="599" y="2080"/>
                  <a:pt x="599" y="1733"/>
                </a:cubicBezTo>
                <a:cubicBezTo>
                  <a:pt x="631" y="1355"/>
                  <a:pt x="2017" y="693"/>
                  <a:pt x="4380" y="693"/>
                </a:cubicBezTo>
                <a:close/>
                <a:moveTo>
                  <a:pt x="8224" y="2710"/>
                </a:moveTo>
                <a:lnTo>
                  <a:pt x="8224" y="4190"/>
                </a:lnTo>
                <a:lnTo>
                  <a:pt x="7845" y="4190"/>
                </a:lnTo>
                <a:cubicBezTo>
                  <a:pt x="7815" y="4189"/>
                  <a:pt x="7784" y="4189"/>
                  <a:pt x="7753" y="4189"/>
                </a:cubicBezTo>
                <a:cubicBezTo>
                  <a:pt x="6625" y="4189"/>
                  <a:pt x="5622" y="4748"/>
                  <a:pt x="4947" y="5545"/>
                </a:cubicBezTo>
                <a:cubicBezTo>
                  <a:pt x="4743" y="5555"/>
                  <a:pt x="4544" y="5560"/>
                  <a:pt x="4352" y="5560"/>
                </a:cubicBezTo>
                <a:cubicBezTo>
                  <a:pt x="2081" y="5560"/>
                  <a:pt x="662" y="4912"/>
                  <a:pt x="662" y="4505"/>
                </a:cubicBezTo>
                <a:lnTo>
                  <a:pt x="662" y="2710"/>
                </a:lnTo>
                <a:cubicBezTo>
                  <a:pt x="1639" y="3308"/>
                  <a:pt x="3246" y="3466"/>
                  <a:pt x="4443" y="3466"/>
                </a:cubicBezTo>
                <a:cubicBezTo>
                  <a:pt x="5577" y="3466"/>
                  <a:pt x="7215" y="3308"/>
                  <a:pt x="8224" y="2710"/>
                </a:cubicBezTo>
                <a:close/>
                <a:moveTo>
                  <a:pt x="631" y="5514"/>
                </a:moveTo>
                <a:cubicBezTo>
                  <a:pt x="1639" y="6081"/>
                  <a:pt x="3309" y="6238"/>
                  <a:pt x="4474" y="6238"/>
                </a:cubicBezTo>
                <a:cubicBezTo>
                  <a:pt x="4222" y="6711"/>
                  <a:pt x="4065" y="7309"/>
                  <a:pt x="4065" y="7939"/>
                </a:cubicBezTo>
                <a:lnTo>
                  <a:pt x="4065" y="8286"/>
                </a:lnTo>
                <a:cubicBezTo>
                  <a:pt x="1860" y="8223"/>
                  <a:pt x="631" y="7624"/>
                  <a:pt x="631" y="7278"/>
                </a:cubicBezTo>
                <a:lnTo>
                  <a:pt x="631" y="5514"/>
                </a:lnTo>
                <a:close/>
                <a:moveTo>
                  <a:pt x="631" y="8223"/>
                </a:moveTo>
                <a:cubicBezTo>
                  <a:pt x="1576" y="8759"/>
                  <a:pt x="3120" y="8979"/>
                  <a:pt x="4222" y="8979"/>
                </a:cubicBezTo>
                <a:cubicBezTo>
                  <a:pt x="4474" y="9798"/>
                  <a:pt x="4947" y="10460"/>
                  <a:pt x="5609" y="10964"/>
                </a:cubicBezTo>
                <a:cubicBezTo>
                  <a:pt x="5199" y="11005"/>
                  <a:pt x="4802" y="11024"/>
                  <a:pt x="4424" y="11024"/>
                </a:cubicBezTo>
                <a:cubicBezTo>
                  <a:pt x="2216" y="11024"/>
                  <a:pt x="631" y="10391"/>
                  <a:pt x="631" y="9987"/>
                </a:cubicBezTo>
                <a:lnTo>
                  <a:pt x="631" y="8223"/>
                </a:lnTo>
                <a:close/>
                <a:moveTo>
                  <a:pt x="7814" y="4852"/>
                </a:moveTo>
                <a:cubicBezTo>
                  <a:pt x="9515" y="4852"/>
                  <a:pt x="10933" y="6238"/>
                  <a:pt x="10933" y="7939"/>
                </a:cubicBezTo>
                <a:cubicBezTo>
                  <a:pt x="10964" y="9641"/>
                  <a:pt x="9547" y="11027"/>
                  <a:pt x="7814" y="11027"/>
                </a:cubicBezTo>
                <a:cubicBezTo>
                  <a:pt x="6113" y="11027"/>
                  <a:pt x="4726" y="9641"/>
                  <a:pt x="4726" y="7939"/>
                </a:cubicBezTo>
                <a:cubicBezTo>
                  <a:pt x="4726" y="6238"/>
                  <a:pt x="6113" y="4852"/>
                  <a:pt x="7814" y="4852"/>
                </a:cubicBezTo>
                <a:close/>
                <a:moveTo>
                  <a:pt x="4411" y="0"/>
                </a:moveTo>
                <a:cubicBezTo>
                  <a:pt x="3277" y="0"/>
                  <a:pt x="2206" y="158"/>
                  <a:pt x="1418" y="410"/>
                </a:cubicBezTo>
                <a:cubicBezTo>
                  <a:pt x="253" y="819"/>
                  <a:pt x="1" y="1323"/>
                  <a:pt x="1" y="1733"/>
                </a:cubicBezTo>
                <a:lnTo>
                  <a:pt x="1" y="9987"/>
                </a:lnTo>
                <a:cubicBezTo>
                  <a:pt x="1" y="10334"/>
                  <a:pt x="253" y="10901"/>
                  <a:pt x="1418" y="11279"/>
                </a:cubicBezTo>
                <a:cubicBezTo>
                  <a:pt x="2269" y="11562"/>
                  <a:pt x="3309" y="11720"/>
                  <a:pt x="4411" y="11720"/>
                </a:cubicBezTo>
                <a:cubicBezTo>
                  <a:pt x="5199" y="11720"/>
                  <a:pt x="5955" y="11657"/>
                  <a:pt x="6617" y="11531"/>
                </a:cubicBezTo>
                <a:cubicBezTo>
                  <a:pt x="7026" y="11657"/>
                  <a:pt x="7404" y="11720"/>
                  <a:pt x="7845" y="11720"/>
                </a:cubicBezTo>
                <a:cubicBezTo>
                  <a:pt x="9925" y="11720"/>
                  <a:pt x="11658" y="10019"/>
                  <a:pt x="11658" y="7939"/>
                </a:cubicBezTo>
                <a:cubicBezTo>
                  <a:pt x="11626" y="6175"/>
                  <a:pt x="10397" y="4757"/>
                  <a:pt x="8822" y="4316"/>
                </a:cubicBezTo>
                <a:lnTo>
                  <a:pt x="8822" y="1733"/>
                </a:lnTo>
                <a:cubicBezTo>
                  <a:pt x="8822" y="1355"/>
                  <a:pt x="8602" y="819"/>
                  <a:pt x="7404" y="410"/>
                </a:cubicBezTo>
                <a:cubicBezTo>
                  <a:pt x="6585" y="158"/>
                  <a:pt x="5514" y="0"/>
                  <a:pt x="4411" y="0"/>
                </a:cubicBezTo>
                <a:close/>
              </a:path>
            </a:pathLst>
          </a:custGeom>
          <a:solidFill>
            <a:srgbClr val="0D559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47" name="Google Shape;9912;p82">
            <a:extLst>
              <a:ext uri="{FF2B5EF4-FFF2-40B4-BE49-F238E27FC236}">
                <a16:creationId xmlns:a16="http://schemas.microsoft.com/office/drawing/2014/main" id="{121C18EF-20A3-46E3-8954-DF8F1776E5EA}"/>
              </a:ext>
            </a:extLst>
          </p:cNvPr>
          <p:cNvGrpSpPr/>
          <p:nvPr/>
        </p:nvGrpSpPr>
        <p:grpSpPr>
          <a:xfrm>
            <a:off x="5106347" y="4825741"/>
            <a:ext cx="514129" cy="472196"/>
            <a:chOff x="685475" y="2318350"/>
            <a:chExt cx="297750" cy="296200"/>
          </a:xfrm>
          <a:solidFill>
            <a:srgbClr val="0D5592"/>
          </a:solidFill>
        </p:grpSpPr>
        <p:sp>
          <p:nvSpPr>
            <p:cNvPr id="148" name="Google Shape;9913;p82">
              <a:extLst>
                <a:ext uri="{FF2B5EF4-FFF2-40B4-BE49-F238E27FC236}">
                  <a16:creationId xmlns:a16="http://schemas.microsoft.com/office/drawing/2014/main" id="{E6C80B52-18D4-4A69-903E-029B77B4899F}"/>
                </a:ext>
              </a:extLst>
            </p:cNvPr>
            <p:cNvSpPr/>
            <p:nvPr/>
          </p:nvSpPr>
          <p:spPr>
            <a:xfrm>
              <a:off x="685475" y="2371925"/>
              <a:ext cx="142600" cy="241975"/>
            </a:xfrm>
            <a:custGeom>
              <a:avLst/>
              <a:gdLst/>
              <a:ahLst/>
              <a:cxnLst/>
              <a:rect l="l" t="t" r="r" b="b"/>
              <a:pathLst>
                <a:path w="5704" h="9679" extrusionOk="0">
                  <a:moveTo>
                    <a:pt x="2080" y="662"/>
                  </a:moveTo>
                  <a:cubicBezTo>
                    <a:pt x="2458" y="662"/>
                    <a:pt x="2773" y="977"/>
                    <a:pt x="2773" y="1387"/>
                  </a:cubicBezTo>
                  <a:cubicBezTo>
                    <a:pt x="2773" y="1765"/>
                    <a:pt x="2458" y="2080"/>
                    <a:pt x="2080" y="2080"/>
                  </a:cubicBezTo>
                  <a:cubicBezTo>
                    <a:pt x="1671" y="2080"/>
                    <a:pt x="1356" y="1765"/>
                    <a:pt x="1356" y="1387"/>
                  </a:cubicBezTo>
                  <a:cubicBezTo>
                    <a:pt x="1356" y="977"/>
                    <a:pt x="1734" y="662"/>
                    <a:pt x="2080" y="662"/>
                  </a:cubicBezTo>
                  <a:close/>
                  <a:moveTo>
                    <a:pt x="2962" y="6900"/>
                  </a:moveTo>
                  <a:lnTo>
                    <a:pt x="3120" y="7593"/>
                  </a:lnTo>
                  <a:lnTo>
                    <a:pt x="1135" y="7593"/>
                  </a:lnTo>
                  <a:lnTo>
                    <a:pt x="1293" y="6900"/>
                  </a:lnTo>
                  <a:close/>
                  <a:moveTo>
                    <a:pt x="1742" y="2767"/>
                  </a:moveTo>
                  <a:cubicBezTo>
                    <a:pt x="1866" y="2767"/>
                    <a:pt x="1991" y="2831"/>
                    <a:pt x="2049" y="2962"/>
                  </a:cubicBezTo>
                  <a:lnTo>
                    <a:pt x="2553" y="3938"/>
                  </a:lnTo>
                  <a:cubicBezTo>
                    <a:pt x="2584" y="4064"/>
                    <a:pt x="2742" y="4127"/>
                    <a:pt x="2868" y="4127"/>
                  </a:cubicBezTo>
                  <a:lnTo>
                    <a:pt x="3813" y="4127"/>
                  </a:lnTo>
                  <a:cubicBezTo>
                    <a:pt x="4002" y="4127"/>
                    <a:pt x="4159" y="4285"/>
                    <a:pt x="4159" y="4474"/>
                  </a:cubicBezTo>
                  <a:cubicBezTo>
                    <a:pt x="4159" y="4695"/>
                    <a:pt x="4002" y="4852"/>
                    <a:pt x="3813" y="4852"/>
                  </a:cubicBezTo>
                  <a:lnTo>
                    <a:pt x="2427" y="4852"/>
                  </a:lnTo>
                  <a:cubicBezTo>
                    <a:pt x="2301" y="4852"/>
                    <a:pt x="2175" y="4758"/>
                    <a:pt x="2112" y="4631"/>
                  </a:cubicBezTo>
                  <a:cubicBezTo>
                    <a:pt x="2042" y="4515"/>
                    <a:pt x="1919" y="4450"/>
                    <a:pt x="1784" y="4450"/>
                  </a:cubicBezTo>
                  <a:cubicBezTo>
                    <a:pt x="1737" y="4450"/>
                    <a:pt x="1688" y="4458"/>
                    <a:pt x="1639" y="4474"/>
                  </a:cubicBezTo>
                  <a:cubicBezTo>
                    <a:pt x="1482" y="4568"/>
                    <a:pt x="1387" y="4758"/>
                    <a:pt x="1482" y="4947"/>
                  </a:cubicBezTo>
                  <a:cubicBezTo>
                    <a:pt x="1671" y="5325"/>
                    <a:pt x="2017" y="5545"/>
                    <a:pt x="2427" y="5545"/>
                  </a:cubicBezTo>
                  <a:lnTo>
                    <a:pt x="3813" y="5545"/>
                  </a:lnTo>
                  <a:cubicBezTo>
                    <a:pt x="3970" y="5545"/>
                    <a:pt x="4128" y="5671"/>
                    <a:pt x="4159" y="5829"/>
                  </a:cubicBezTo>
                  <a:lnTo>
                    <a:pt x="4853" y="8570"/>
                  </a:lnTo>
                  <a:cubicBezTo>
                    <a:pt x="4916" y="8790"/>
                    <a:pt x="4790" y="8979"/>
                    <a:pt x="4632" y="9011"/>
                  </a:cubicBezTo>
                  <a:cubicBezTo>
                    <a:pt x="4608" y="9015"/>
                    <a:pt x="4584" y="9017"/>
                    <a:pt x="4560" y="9017"/>
                  </a:cubicBezTo>
                  <a:cubicBezTo>
                    <a:pt x="4403" y="9017"/>
                    <a:pt x="4273" y="8927"/>
                    <a:pt x="4191" y="8790"/>
                  </a:cubicBezTo>
                  <a:lnTo>
                    <a:pt x="3655" y="6522"/>
                  </a:lnTo>
                  <a:cubicBezTo>
                    <a:pt x="3592" y="6364"/>
                    <a:pt x="3498" y="6270"/>
                    <a:pt x="3277" y="6270"/>
                  </a:cubicBezTo>
                  <a:lnTo>
                    <a:pt x="1040" y="6270"/>
                  </a:lnTo>
                  <a:cubicBezTo>
                    <a:pt x="914" y="6270"/>
                    <a:pt x="851" y="6207"/>
                    <a:pt x="757" y="6144"/>
                  </a:cubicBezTo>
                  <a:cubicBezTo>
                    <a:pt x="694" y="5986"/>
                    <a:pt x="694" y="5892"/>
                    <a:pt x="694" y="5797"/>
                  </a:cubicBezTo>
                  <a:lnTo>
                    <a:pt x="1419" y="3025"/>
                  </a:lnTo>
                  <a:cubicBezTo>
                    <a:pt x="1453" y="2855"/>
                    <a:pt x="1597" y="2767"/>
                    <a:pt x="1742" y="2767"/>
                  </a:cubicBezTo>
                  <a:close/>
                  <a:moveTo>
                    <a:pt x="2143" y="0"/>
                  </a:moveTo>
                  <a:cubicBezTo>
                    <a:pt x="1419" y="0"/>
                    <a:pt x="788" y="630"/>
                    <a:pt x="788" y="1387"/>
                  </a:cubicBezTo>
                  <a:cubicBezTo>
                    <a:pt x="788" y="1733"/>
                    <a:pt x="946" y="2080"/>
                    <a:pt x="1135" y="2332"/>
                  </a:cubicBezTo>
                  <a:cubicBezTo>
                    <a:pt x="977" y="2426"/>
                    <a:pt x="851" y="2647"/>
                    <a:pt x="788" y="2867"/>
                  </a:cubicBezTo>
                  <a:lnTo>
                    <a:pt x="64" y="5640"/>
                  </a:lnTo>
                  <a:cubicBezTo>
                    <a:pt x="1" y="5955"/>
                    <a:pt x="64" y="6270"/>
                    <a:pt x="253" y="6522"/>
                  </a:cubicBezTo>
                  <a:cubicBezTo>
                    <a:pt x="347" y="6648"/>
                    <a:pt x="473" y="6774"/>
                    <a:pt x="631" y="6805"/>
                  </a:cubicBezTo>
                  <a:lnTo>
                    <a:pt x="32" y="9263"/>
                  </a:lnTo>
                  <a:cubicBezTo>
                    <a:pt x="1" y="9452"/>
                    <a:pt x="95" y="9609"/>
                    <a:pt x="253" y="9672"/>
                  </a:cubicBezTo>
                  <a:cubicBezTo>
                    <a:pt x="281" y="9676"/>
                    <a:pt x="309" y="9678"/>
                    <a:pt x="335" y="9678"/>
                  </a:cubicBezTo>
                  <a:cubicBezTo>
                    <a:pt x="513" y="9678"/>
                    <a:pt x="639" y="9589"/>
                    <a:pt x="694" y="9452"/>
                  </a:cubicBezTo>
                  <a:lnTo>
                    <a:pt x="977" y="8318"/>
                  </a:lnTo>
                  <a:lnTo>
                    <a:pt x="3372" y="8318"/>
                  </a:lnTo>
                  <a:lnTo>
                    <a:pt x="3529" y="8885"/>
                  </a:lnTo>
                  <a:cubicBezTo>
                    <a:pt x="3661" y="9359"/>
                    <a:pt x="4079" y="9679"/>
                    <a:pt x="4526" y="9679"/>
                  </a:cubicBezTo>
                  <a:cubicBezTo>
                    <a:pt x="4613" y="9679"/>
                    <a:pt x="4702" y="9667"/>
                    <a:pt x="4790" y="9641"/>
                  </a:cubicBezTo>
                  <a:cubicBezTo>
                    <a:pt x="5357" y="9483"/>
                    <a:pt x="5703" y="8916"/>
                    <a:pt x="5546" y="8381"/>
                  </a:cubicBezTo>
                  <a:lnTo>
                    <a:pt x="4821" y="5640"/>
                  </a:lnTo>
                  <a:cubicBezTo>
                    <a:pt x="4790" y="5482"/>
                    <a:pt x="4727" y="5325"/>
                    <a:pt x="4601" y="5199"/>
                  </a:cubicBezTo>
                  <a:cubicBezTo>
                    <a:pt x="4758" y="5010"/>
                    <a:pt x="4884" y="4758"/>
                    <a:pt x="4884" y="4474"/>
                  </a:cubicBezTo>
                  <a:cubicBezTo>
                    <a:pt x="4884" y="3907"/>
                    <a:pt x="4412" y="3466"/>
                    <a:pt x="3844" y="3466"/>
                  </a:cubicBezTo>
                  <a:lnTo>
                    <a:pt x="3088" y="3466"/>
                  </a:lnTo>
                  <a:lnTo>
                    <a:pt x="2710" y="2647"/>
                  </a:lnTo>
                  <a:cubicBezTo>
                    <a:pt x="3183" y="2395"/>
                    <a:pt x="3529" y="1922"/>
                    <a:pt x="3529" y="1387"/>
                  </a:cubicBezTo>
                  <a:cubicBezTo>
                    <a:pt x="3529" y="630"/>
                    <a:pt x="2899" y="0"/>
                    <a:pt x="214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" name="Google Shape;9914;p82">
              <a:extLst>
                <a:ext uri="{FF2B5EF4-FFF2-40B4-BE49-F238E27FC236}">
                  <a16:creationId xmlns:a16="http://schemas.microsoft.com/office/drawing/2014/main" id="{92CC452C-D595-4E8C-9F04-EFAB57083A57}"/>
                </a:ext>
              </a:extLst>
            </p:cNvPr>
            <p:cNvSpPr/>
            <p:nvPr/>
          </p:nvSpPr>
          <p:spPr>
            <a:xfrm>
              <a:off x="839850" y="2371925"/>
              <a:ext cx="143375" cy="242625"/>
            </a:xfrm>
            <a:custGeom>
              <a:avLst/>
              <a:gdLst/>
              <a:ahLst/>
              <a:cxnLst/>
              <a:rect l="l" t="t" r="r" b="b"/>
              <a:pathLst>
                <a:path w="5735" h="9705" extrusionOk="0">
                  <a:moveTo>
                    <a:pt x="3624" y="662"/>
                  </a:moveTo>
                  <a:cubicBezTo>
                    <a:pt x="4002" y="662"/>
                    <a:pt x="4317" y="977"/>
                    <a:pt x="4317" y="1355"/>
                  </a:cubicBezTo>
                  <a:cubicBezTo>
                    <a:pt x="4317" y="1765"/>
                    <a:pt x="4002" y="2080"/>
                    <a:pt x="3624" y="2080"/>
                  </a:cubicBezTo>
                  <a:cubicBezTo>
                    <a:pt x="3214" y="2080"/>
                    <a:pt x="2899" y="1765"/>
                    <a:pt x="2899" y="1355"/>
                  </a:cubicBezTo>
                  <a:cubicBezTo>
                    <a:pt x="2899" y="977"/>
                    <a:pt x="3214" y="662"/>
                    <a:pt x="3624" y="662"/>
                  </a:cubicBezTo>
                  <a:close/>
                  <a:moveTo>
                    <a:pt x="4317" y="6900"/>
                  </a:moveTo>
                  <a:lnTo>
                    <a:pt x="4474" y="7593"/>
                  </a:lnTo>
                  <a:lnTo>
                    <a:pt x="2490" y="7593"/>
                  </a:lnTo>
                  <a:lnTo>
                    <a:pt x="2647" y="6900"/>
                  </a:lnTo>
                  <a:close/>
                  <a:moveTo>
                    <a:pt x="3962" y="2731"/>
                  </a:moveTo>
                  <a:cubicBezTo>
                    <a:pt x="4108" y="2731"/>
                    <a:pt x="4250" y="2818"/>
                    <a:pt x="4285" y="2993"/>
                  </a:cubicBezTo>
                  <a:lnTo>
                    <a:pt x="4979" y="5734"/>
                  </a:lnTo>
                  <a:cubicBezTo>
                    <a:pt x="5010" y="6018"/>
                    <a:pt x="4853" y="6207"/>
                    <a:pt x="4632" y="6207"/>
                  </a:cubicBezTo>
                  <a:lnTo>
                    <a:pt x="2395" y="6207"/>
                  </a:lnTo>
                  <a:cubicBezTo>
                    <a:pt x="2238" y="6207"/>
                    <a:pt x="2080" y="6333"/>
                    <a:pt x="2049" y="6490"/>
                  </a:cubicBezTo>
                  <a:lnTo>
                    <a:pt x="1482" y="8727"/>
                  </a:lnTo>
                  <a:cubicBezTo>
                    <a:pt x="1456" y="8883"/>
                    <a:pt x="1323" y="8996"/>
                    <a:pt x="1154" y="8996"/>
                  </a:cubicBezTo>
                  <a:cubicBezTo>
                    <a:pt x="1118" y="8996"/>
                    <a:pt x="1080" y="8990"/>
                    <a:pt x="1040" y="8979"/>
                  </a:cubicBezTo>
                  <a:cubicBezTo>
                    <a:pt x="851" y="8916"/>
                    <a:pt x="725" y="8727"/>
                    <a:pt x="820" y="8538"/>
                  </a:cubicBezTo>
                  <a:lnTo>
                    <a:pt x="1513" y="5766"/>
                  </a:lnTo>
                  <a:cubicBezTo>
                    <a:pt x="1576" y="5608"/>
                    <a:pt x="1671" y="5514"/>
                    <a:pt x="1891" y="5514"/>
                  </a:cubicBezTo>
                  <a:lnTo>
                    <a:pt x="3246" y="5514"/>
                  </a:lnTo>
                  <a:cubicBezTo>
                    <a:pt x="3655" y="5514"/>
                    <a:pt x="4002" y="5262"/>
                    <a:pt x="4222" y="4915"/>
                  </a:cubicBezTo>
                  <a:cubicBezTo>
                    <a:pt x="4285" y="4758"/>
                    <a:pt x="4222" y="4537"/>
                    <a:pt x="4033" y="4442"/>
                  </a:cubicBezTo>
                  <a:cubicBezTo>
                    <a:pt x="3993" y="4426"/>
                    <a:pt x="3948" y="4418"/>
                    <a:pt x="3902" y="4418"/>
                  </a:cubicBezTo>
                  <a:cubicBezTo>
                    <a:pt x="3770" y="4418"/>
                    <a:pt x="3631" y="4483"/>
                    <a:pt x="3561" y="4600"/>
                  </a:cubicBezTo>
                  <a:cubicBezTo>
                    <a:pt x="3529" y="4726"/>
                    <a:pt x="3372" y="4789"/>
                    <a:pt x="3246" y="4789"/>
                  </a:cubicBezTo>
                  <a:lnTo>
                    <a:pt x="1891" y="4789"/>
                  </a:lnTo>
                  <a:cubicBezTo>
                    <a:pt x="1671" y="4789"/>
                    <a:pt x="1513" y="4631"/>
                    <a:pt x="1513" y="4442"/>
                  </a:cubicBezTo>
                  <a:cubicBezTo>
                    <a:pt x="1513" y="4253"/>
                    <a:pt x="1671" y="4096"/>
                    <a:pt x="1891" y="4096"/>
                  </a:cubicBezTo>
                  <a:lnTo>
                    <a:pt x="2836" y="4096"/>
                  </a:lnTo>
                  <a:cubicBezTo>
                    <a:pt x="2931" y="4096"/>
                    <a:pt x="3057" y="4001"/>
                    <a:pt x="3151" y="3907"/>
                  </a:cubicBezTo>
                  <a:cubicBezTo>
                    <a:pt x="3151" y="3844"/>
                    <a:pt x="3655" y="2899"/>
                    <a:pt x="3655" y="2899"/>
                  </a:cubicBezTo>
                  <a:cubicBezTo>
                    <a:pt x="3725" y="2787"/>
                    <a:pt x="3845" y="2731"/>
                    <a:pt x="3962" y="2731"/>
                  </a:cubicBezTo>
                  <a:close/>
                  <a:moveTo>
                    <a:pt x="3529" y="0"/>
                  </a:moveTo>
                  <a:cubicBezTo>
                    <a:pt x="2805" y="0"/>
                    <a:pt x="2175" y="630"/>
                    <a:pt x="2175" y="1355"/>
                  </a:cubicBezTo>
                  <a:cubicBezTo>
                    <a:pt x="2175" y="1922"/>
                    <a:pt x="2490" y="2395"/>
                    <a:pt x="2994" y="2615"/>
                  </a:cubicBezTo>
                  <a:lnTo>
                    <a:pt x="2584" y="3466"/>
                  </a:lnTo>
                  <a:lnTo>
                    <a:pt x="1860" y="3466"/>
                  </a:lnTo>
                  <a:cubicBezTo>
                    <a:pt x="1261" y="3466"/>
                    <a:pt x="820" y="3938"/>
                    <a:pt x="820" y="4474"/>
                  </a:cubicBezTo>
                  <a:cubicBezTo>
                    <a:pt x="820" y="4758"/>
                    <a:pt x="946" y="4978"/>
                    <a:pt x="1103" y="5199"/>
                  </a:cubicBezTo>
                  <a:cubicBezTo>
                    <a:pt x="977" y="5325"/>
                    <a:pt x="914" y="5451"/>
                    <a:pt x="851" y="5608"/>
                  </a:cubicBezTo>
                  <a:lnTo>
                    <a:pt x="158" y="8381"/>
                  </a:lnTo>
                  <a:cubicBezTo>
                    <a:pt x="1" y="8916"/>
                    <a:pt x="347" y="9483"/>
                    <a:pt x="914" y="9641"/>
                  </a:cubicBezTo>
                  <a:cubicBezTo>
                    <a:pt x="1002" y="9667"/>
                    <a:pt x="1091" y="9679"/>
                    <a:pt x="1178" y="9679"/>
                  </a:cubicBezTo>
                  <a:cubicBezTo>
                    <a:pt x="1624" y="9679"/>
                    <a:pt x="2038" y="9359"/>
                    <a:pt x="2143" y="8885"/>
                  </a:cubicBezTo>
                  <a:lnTo>
                    <a:pt x="2332" y="8286"/>
                  </a:lnTo>
                  <a:lnTo>
                    <a:pt x="4695" y="8286"/>
                  </a:lnTo>
                  <a:lnTo>
                    <a:pt x="4947" y="9452"/>
                  </a:lnTo>
                  <a:cubicBezTo>
                    <a:pt x="4995" y="9597"/>
                    <a:pt x="5118" y="9704"/>
                    <a:pt x="5257" y="9704"/>
                  </a:cubicBezTo>
                  <a:cubicBezTo>
                    <a:pt x="5300" y="9704"/>
                    <a:pt x="5344" y="9694"/>
                    <a:pt x="5388" y="9672"/>
                  </a:cubicBezTo>
                  <a:cubicBezTo>
                    <a:pt x="5577" y="9641"/>
                    <a:pt x="5703" y="9452"/>
                    <a:pt x="5609" y="9231"/>
                  </a:cubicBezTo>
                  <a:lnTo>
                    <a:pt x="5042" y="6805"/>
                  </a:lnTo>
                  <a:cubicBezTo>
                    <a:pt x="5514" y="6616"/>
                    <a:pt x="5735" y="6144"/>
                    <a:pt x="5640" y="5640"/>
                  </a:cubicBezTo>
                  <a:lnTo>
                    <a:pt x="4916" y="2867"/>
                  </a:lnTo>
                  <a:cubicBezTo>
                    <a:pt x="4884" y="2647"/>
                    <a:pt x="4758" y="2489"/>
                    <a:pt x="4569" y="2332"/>
                  </a:cubicBezTo>
                  <a:cubicBezTo>
                    <a:pt x="4790" y="2080"/>
                    <a:pt x="4916" y="1733"/>
                    <a:pt x="4916" y="1355"/>
                  </a:cubicBezTo>
                  <a:cubicBezTo>
                    <a:pt x="4916" y="630"/>
                    <a:pt x="4285" y="0"/>
                    <a:pt x="352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" name="Google Shape;9915;p82">
              <a:extLst>
                <a:ext uri="{FF2B5EF4-FFF2-40B4-BE49-F238E27FC236}">
                  <a16:creationId xmlns:a16="http://schemas.microsoft.com/office/drawing/2014/main" id="{81182B71-557B-401A-832B-E38B735EFC52}"/>
                </a:ext>
              </a:extLst>
            </p:cNvPr>
            <p:cNvSpPr/>
            <p:nvPr/>
          </p:nvSpPr>
          <p:spPr>
            <a:xfrm>
              <a:off x="772900" y="2318350"/>
              <a:ext cx="122125" cy="105075"/>
            </a:xfrm>
            <a:custGeom>
              <a:avLst/>
              <a:gdLst/>
              <a:ahLst/>
              <a:cxnLst/>
              <a:rect l="l" t="t" r="r" b="b"/>
              <a:pathLst>
                <a:path w="4885" h="4203" extrusionOk="0">
                  <a:moveTo>
                    <a:pt x="3844" y="631"/>
                  </a:moveTo>
                  <a:cubicBezTo>
                    <a:pt x="4034" y="631"/>
                    <a:pt x="4223" y="789"/>
                    <a:pt x="4223" y="978"/>
                  </a:cubicBezTo>
                  <a:lnTo>
                    <a:pt x="4223" y="1734"/>
                  </a:lnTo>
                  <a:cubicBezTo>
                    <a:pt x="4223" y="1923"/>
                    <a:pt x="4034" y="2112"/>
                    <a:pt x="3844" y="2112"/>
                  </a:cubicBezTo>
                  <a:cubicBezTo>
                    <a:pt x="3655" y="2143"/>
                    <a:pt x="3498" y="2301"/>
                    <a:pt x="3498" y="2458"/>
                  </a:cubicBezTo>
                  <a:lnTo>
                    <a:pt x="3498" y="2994"/>
                  </a:lnTo>
                  <a:lnTo>
                    <a:pt x="2679" y="2206"/>
                  </a:lnTo>
                  <a:cubicBezTo>
                    <a:pt x="2584" y="2143"/>
                    <a:pt x="2521" y="2112"/>
                    <a:pt x="2427" y="2112"/>
                  </a:cubicBezTo>
                  <a:lnTo>
                    <a:pt x="1009" y="2112"/>
                  </a:lnTo>
                  <a:cubicBezTo>
                    <a:pt x="820" y="2112"/>
                    <a:pt x="662" y="1923"/>
                    <a:pt x="662" y="1734"/>
                  </a:cubicBezTo>
                  <a:lnTo>
                    <a:pt x="662" y="978"/>
                  </a:lnTo>
                  <a:cubicBezTo>
                    <a:pt x="662" y="789"/>
                    <a:pt x="820" y="631"/>
                    <a:pt x="1009" y="631"/>
                  </a:cubicBezTo>
                  <a:close/>
                  <a:moveTo>
                    <a:pt x="1009" y="1"/>
                  </a:moveTo>
                  <a:cubicBezTo>
                    <a:pt x="442" y="1"/>
                    <a:pt x="1" y="474"/>
                    <a:pt x="1" y="1041"/>
                  </a:cubicBezTo>
                  <a:lnTo>
                    <a:pt x="1" y="1765"/>
                  </a:lnTo>
                  <a:cubicBezTo>
                    <a:pt x="1" y="2364"/>
                    <a:pt x="473" y="2805"/>
                    <a:pt x="1009" y="2805"/>
                  </a:cubicBezTo>
                  <a:lnTo>
                    <a:pt x="2269" y="2805"/>
                  </a:lnTo>
                  <a:lnTo>
                    <a:pt x="3592" y="4097"/>
                  </a:lnTo>
                  <a:cubicBezTo>
                    <a:pt x="3663" y="4167"/>
                    <a:pt x="3770" y="4203"/>
                    <a:pt x="3872" y="4203"/>
                  </a:cubicBezTo>
                  <a:cubicBezTo>
                    <a:pt x="3906" y="4203"/>
                    <a:pt x="3939" y="4199"/>
                    <a:pt x="3970" y="4191"/>
                  </a:cubicBezTo>
                  <a:cubicBezTo>
                    <a:pt x="4097" y="4160"/>
                    <a:pt x="4160" y="4002"/>
                    <a:pt x="4160" y="3876"/>
                  </a:cubicBezTo>
                  <a:lnTo>
                    <a:pt x="4160" y="2773"/>
                  </a:lnTo>
                  <a:cubicBezTo>
                    <a:pt x="4569" y="2616"/>
                    <a:pt x="4884" y="2238"/>
                    <a:pt x="4884" y="1765"/>
                  </a:cubicBezTo>
                  <a:lnTo>
                    <a:pt x="4884" y="1041"/>
                  </a:lnTo>
                  <a:cubicBezTo>
                    <a:pt x="4884" y="442"/>
                    <a:pt x="4412" y="1"/>
                    <a:pt x="384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51" name="Google Shape;7892;p76">
            <a:extLst>
              <a:ext uri="{FF2B5EF4-FFF2-40B4-BE49-F238E27FC236}">
                <a16:creationId xmlns:a16="http://schemas.microsoft.com/office/drawing/2014/main" id="{CAD36BBA-CCF0-4893-AAC2-0C62DD90A869}"/>
              </a:ext>
            </a:extLst>
          </p:cNvPr>
          <p:cNvGrpSpPr/>
          <p:nvPr/>
        </p:nvGrpSpPr>
        <p:grpSpPr>
          <a:xfrm flipV="1">
            <a:off x="822721" y="3078502"/>
            <a:ext cx="10058575" cy="627652"/>
            <a:chOff x="816248" y="1189749"/>
            <a:chExt cx="2433172" cy="133741"/>
          </a:xfrm>
        </p:grpSpPr>
        <p:grpSp>
          <p:nvGrpSpPr>
            <p:cNvPr id="152" name="Google Shape;7893;p76">
              <a:extLst>
                <a:ext uri="{FF2B5EF4-FFF2-40B4-BE49-F238E27FC236}">
                  <a16:creationId xmlns:a16="http://schemas.microsoft.com/office/drawing/2014/main" id="{2BDEADA0-7C2E-4925-8B63-CDE813C23B2C}"/>
                </a:ext>
              </a:extLst>
            </p:cNvPr>
            <p:cNvGrpSpPr/>
            <p:nvPr/>
          </p:nvGrpSpPr>
          <p:grpSpPr>
            <a:xfrm>
              <a:off x="1731665" y="1190183"/>
              <a:ext cx="827353" cy="129815"/>
              <a:chOff x="4038116" y="3066029"/>
              <a:chExt cx="2813170" cy="441535"/>
            </a:xfrm>
          </p:grpSpPr>
          <p:sp>
            <p:nvSpPr>
              <p:cNvPr id="170" name="Google Shape;7894;p76">
                <a:extLst>
                  <a:ext uri="{FF2B5EF4-FFF2-40B4-BE49-F238E27FC236}">
                    <a16:creationId xmlns:a16="http://schemas.microsoft.com/office/drawing/2014/main" id="{120A20BE-72B3-4EAE-9133-6E3B729F1026}"/>
                  </a:ext>
                </a:extLst>
              </p:cNvPr>
              <p:cNvSpPr/>
              <p:nvPr/>
            </p:nvSpPr>
            <p:spPr>
              <a:xfrm>
                <a:off x="4670380" y="3066029"/>
                <a:ext cx="2180906" cy="141292"/>
              </a:xfrm>
              <a:prstGeom prst="rect">
                <a:avLst/>
              </a:prstGeom>
              <a:noFill/>
              <a:ln w="9525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>
                  <a:ln>
                    <a:solidFill>
                      <a:sysClr val="windowText" lastClr="000000"/>
                    </a:solidFill>
                  </a:ln>
                  <a:solidFill>
                    <a:sysClr val="windowText" lastClr="000000"/>
                  </a:solidFill>
                </a:endParaRPr>
              </a:p>
            </p:txBody>
          </p:sp>
          <p:grpSp>
            <p:nvGrpSpPr>
              <p:cNvPr id="171" name="Google Shape;7895;p76">
                <a:extLst>
                  <a:ext uri="{FF2B5EF4-FFF2-40B4-BE49-F238E27FC236}">
                    <a16:creationId xmlns:a16="http://schemas.microsoft.com/office/drawing/2014/main" id="{74FEB257-D867-4C96-BE20-2400CE86A54C}"/>
                  </a:ext>
                </a:extLst>
              </p:cNvPr>
              <p:cNvGrpSpPr/>
              <p:nvPr/>
            </p:nvGrpSpPr>
            <p:grpSpPr>
              <a:xfrm>
                <a:off x="4038116" y="3071679"/>
                <a:ext cx="92400" cy="435885"/>
                <a:chOff x="75375" y="2835314"/>
                <a:chExt cx="92400" cy="435885"/>
              </a:xfrm>
            </p:grpSpPr>
            <p:cxnSp>
              <p:nvCxnSpPr>
                <p:cNvPr id="172" name="Google Shape;7896;p76">
                  <a:extLst>
                    <a:ext uri="{FF2B5EF4-FFF2-40B4-BE49-F238E27FC236}">
                      <a16:creationId xmlns:a16="http://schemas.microsoft.com/office/drawing/2014/main" id="{DB81AAA8-47F3-449E-8A3A-37FEE1F74BE4}"/>
                    </a:ext>
                  </a:extLst>
                </p:cNvPr>
                <p:cNvCxnSpPr/>
                <p:nvPr/>
              </p:nvCxnSpPr>
              <p:spPr>
                <a:xfrm>
                  <a:off x="121575" y="2835314"/>
                  <a:ext cx="0" cy="3594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67E9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sp>
              <p:nvSpPr>
                <p:cNvPr id="173" name="Google Shape;7897;p76">
                  <a:extLst>
                    <a:ext uri="{FF2B5EF4-FFF2-40B4-BE49-F238E27FC236}">
                      <a16:creationId xmlns:a16="http://schemas.microsoft.com/office/drawing/2014/main" id="{B75163CD-A688-46D8-B838-B69DC695ECCE}"/>
                    </a:ext>
                  </a:extLst>
                </p:cNvPr>
                <p:cNvSpPr/>
                <p:nvPr/>
              </p:nvSpPr>
              <p:spPr>
                <a:xfrm>
                  <a:off x="75375" y="3178799"/>
                  <a:ext cx="92400" cy="92400"/>
                </a:xfrm>
                <a:prstGeom prst="ellipse">
                  <a:avLst/>
                </a:prstGeom>
                <a:solidFill>
                  <a:schemeClr val="tx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>
                    <a:ln>
                      <a:solidFill>
                        <a:sysClr val="windowText" lastClr="000000"/>
                      </a:solidFill>
                    </a:ln>
                    <a:solidFill>
                      <a:sysClr val="windowText" lastClr="000000"/>
                    </a:solidFill>
                  </a:endParaRPr>
                </a:p>
              </p:txBody>
            </p:sp>
          </p:grpSp>
        </p:grpSp>
        <p:sp>
          <p:nvSpPr>
            <p:cNvPr id="154" name="Google Shape;7899;p76">
              <a:extLst>
                <a:ext uri="{FF2B5EF4-FFF2-40B4-BE49-F238E27FC236}">
                  <a16:creationId xmlns:a16="http://schemas.microsoft.com/office/drawing/2014/main" id="{C94B1066-B423-439F-B83E-638050CC644C}"/>
                </a:ext>
              </a:extLst>
            </p:cNvPr>
            <p:cNvSpPr/>
            <p:nvPr/>
          </p:nvSpPr>
          <p:spPr>
            <a:xfrm>
              <a:off x="2854387" y="1293331"/>
              <a:ext cx="27300" cy="2730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</a:endParaRPr>
            </a:p>
          </p:txBody>
        </p:sp>
        <p:sp>
          <p:nvSpPr>
            <p:cNvPr id="167" name="Google Shape;7904;p76">
              <a:extLst>
                <a:ext uri="{FF2B5EF4-FFF2-40B4-BE49-F238E27FC236}">
                  <a16:creationId xmlns:a16="http://schemas.microsoft.com/office/drawing/2014/main" id="{628B7231-6812-43D4-A21E-F7CE0D19DA32}"/>
                </a:ext>
              </a:extLst>
            </p:cNvPr>
            <p:cNvSpPr/>
            <p:nvPr/>
          </p:nvSpPr>
          <p:spPr>
            <a:xfrm>
              <a:off x="816248" y="1192743"/>
              <a:ext cx="477798" cy="39300"/>
            </a:xfrm>
            <a:prstGeom prst="rect">
              <a:avLst/>
            </a:prstGeom>
            <a:noFill/>
            <a:ln w="9525" cap="flat" cmpd="sng">
              <a:solidFill>
                <a:schemeClr val="tx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</a:endParaRPr>
            </a:p>
          </p:txBody>
        </p:sp>
        <p:grpSp>
          <p:nvGrpSpPr>
            <p:cNvPr id="156" name="Google Shape;7905;p76">
              <a:extLst>
                <a:ext uri="{FF2B5EF4-FFF2-40B4-BE49-F238E27FC236}">
                  <a16:creationId xmlns:a16="http://schemas.microsoft.com/office/drawing/2014/main" id="{FD3B21A0-34F2-47D6-9508-7151E2415BAB}"/>
                </a:ext>
              </a:extLst>
            </p:cNvPr>
            <p:cNvGrpSpPr/>
            <p:nvPr/>
          </p:nvGrpSpPr>
          <p:grpSpPr>
            <a:xfrm>
              <a:off x="1175432" y="1191847"/>
              <a:ext cx="744488" cy="131643"/>
              <a:chOff x="1175432" y="1191847"/>
              <a:chExt cx="744488" cy="131643"/>
            </a:xfrm>
          </p:grpSpPr>
          <p:grpSp>
            <p:nvGrpSpPr>
              <p:cNvPr id="162" name="Google Shape;7906;p76">
                <a:extLst>
                  <a:ext uri="{FF2B5EF4-FFF2-40B4-BE49-F238E27FC236}">
                    <a16:creationId xmlns:a16="http://schemas.microsoft.com/office/drawing/2014/main" id="{E36ABBE0-DD28-4A62-82E6-A34171C7075D}"/>
                  </a:ext>
                </a:extLst>
              </p:cNvPr>
              <p:cNvGrpSpPr/>
              <p:nvPr/>
            </p:nvGrpSpPr>
            <p:grpSpPr>
              <a:xfrm rot="10800000">
                <a:off x="1175432" y="1191847"/>
                <a:ext cx="27175" cy="131643"/>
                <a:chOff x="2772165" y="2536168"/>
                <a:chExt cx="92400" cy="447763"/>
              </a:xfrm>
            </p:grpSpPr>
            <p:cxnSp>
              <p:nvCxnSpPr>
                <p:cNvPr id="164" name="Google Shape;7907;p76">
                  <a:extLst>
                    <a:ext uri="{FF2B5EF4-FFF2-40B4-BE49-F238E27FC236}">
                      <a16:creationId xmlns:a16="http://schemas.microsoft.com/office/drawing/2014/main" id="{8F585863-0C2D-4CA6-9D4E-ED85C38AD169}"/>
                    </a:ext>
                  </a:extLst>
                </p:cNvPr>
                <p:cNvCxnSpPr/>
                <p:nvPr/>
              </p:nvCxnSpPr>
              <p:spPr>
                <a:xfrm>
                  <a:off x="2813660" y="2624531"/>
                  <a:ext cx="0" cy="3594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67E9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sp>
              <p:nvSpPr>
                <p:cNvPr id="165" name="Google Shape;7908;p76">
                  <a:extLst>
                    <a:ext uri="{FF2B5EF4-FFF2-40B4-BE49-F238E27FC236}">
                      <a16:creationId xmlns:a16="http://schemas.microsoft.com/office/drawing/2014/main" id="{28AF7885-401A-47CF-92B3-171CF6FF4FA4}"/>
                    </a:ext>
                  </a:extLst>
                </p:cNvPr>
                <p:cNvSpPr/>
                <p:nvPr/>
              </p:nvSpPr>
              <p:spPr>
                <a:xfrm>
                  <a:off x="2772165" y="2536168"/>
                  <a:ext cx="92400" cy="92400"/>
                </a:xfrm>
                <a:prstGeom prst="ellipse">
                  <a:avLst/>
                </a:prstGeom>
                <a:solidFill>
                  <a:schemeClr val="tx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>
                    <a:ln>
                      <a:solidFill>
                        <a:sysClr val="windowText" lastClr="000000"/>
                      </a:solidFill>
                    </a:ln>
                    <a:solidFill>
                      <a:sysClr val="windowText" lastClr="000000"/>
                    </a:solidFill>
                  </a:endParaRPr>
                </a:p>
              </p:txBody>
            </p:sp>
          </p:grpSp>
          <p:sp>
            <p:nvSpPr>
              <p:cNvPr id="163" name="Google Shape;7909;p76">
                <a:extLst>
                  <a:ext uri="{FF2B5EF4-FFF2-40B4-BE49-F238E27FC236}">
                    <a16:creationId xmlns:a16="http://schemas.microsoft.com/office/drawing/2014/main" id="{38FF96BD-450B-4CA9-AA3E-F9E06751967A}"/>
                  </a:ext>
                </a:extLst>
              </p:cNvPr>
              <p:cNvSpPr/>
              <p:nvPr/>
            </p:nvSpPr>
            <p:spPr>
              <a:xfrm>
                <a:off x="1294578" y="1191847"/>
                <a:ext cx="625342" cy="39300"/>
              </a:xfrm>
              <a:prstGeom prst="rect">
                <a:avLst/>
              </a:pr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>
                  <a:ln>
                    <a:solidFill>
                      <a:sysClr val="windowText" lastClr="000000"/>
                    </a:solidFill>
                  </a:ln>
                  <a:solidFill>
                    <a:sysClr val="windowText" lastClr="000000"/>
                  </a:solidFill>
                </a:endParaRPr>
              </a:p>
            </p:txBody>
          </p:sp>
        </p:grpSp>
        <p:grpSp>
          <p:nvGrpSpPr>
            <p:cNvPr id="157" name="Google Shape;7910;p76">
              <a:extLst>
                <a:ext uri="{FF2B5EF4-FFF2-40B4-BE49-F238E27FC236}">
                  <a16:creationId xmlns:a16="http://schemas.microsoft.com/office/drawing/2014/main" id="{815BF6CB-5937-4B87-B0BC-FCA327CDA943}"/>
                </a:ext>
              </a:extLst>
            </p:cNvPr>
            <p:cNvGrpSpPr/>
            <p:nvPr/>
          </p:nvGrpSpPr>
          <p:grpSpPr>
            <a:xfrm>
              <a:off x="2292860" y="1189749"/>
              <a:ext cx="956560" cy="131430"/>
              <a:chOff x="2292860" y="1189749"/>
              <a:chExt cx="956560" cy="131430"/>
            </a:xfrm>
          </p:grpSpPr>
          <p:grpSp>
            <p:nvGrpSpPr>
              <p:cNvPr id="158" name="Google Shape;7911;p76">
                <a:extLst>
                  <a:ext uri="{FF2B5EF4-FFF2-40B4-BE49-F238E27FC236}">
                    <a16:creationId xmlns:a16="http://schemas.microsoft.com/office/drawing/2014/main" id="{B34238A1-19F9-4939-A7F8-2A5AE25D3FE0}"/>
                  </a:ext>
                </a:extLst>
              </p:cNvPr>
              <p:cNvGrpSpPr/>
              <p:nvPr/>
            </p:nvGrpSpPr>
            <p:grpSpPr>
              <a:xfrm rot="10800000">
                <a:off x="2292860" y="1189749"/>
                <a:ext cx="27175" cy="131430"/>
                <a:chOff x="2883488" y="2544039"/>
                <a:chExt cx="92400" cy="447041"/>
              </a:xfrm>
            </p:grpSpPr>
            <p:cxnSp>
              <p:nvCxnSpPr>
                <p:cNvPr id="160" name="Google Shape;7912;p76">
                  <a:extLst>
                    <a:ext uri="{FF2B5EF4-FFF2-40B4-BE49-F238E27FC236}">
                      <a16:creationId xmlns:a16="http://schemas.microsoft.com/office/drawing/2014/main" id="{9BD690E8-C961-4911-97B9-9AA620197911}"/>
                    </a:ext>
                  </a:extLst>
                </p:cNvPr>
                <p:cNvCxnSpPr/>
                <p:nvPr/>
              </p:nvCxnSpPr>
              <p:spPr>
                <a:xfrm>
                  <a:off x="2937504" y="2631680"/>
                  <a:ext cx="0" cy="35940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667E9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sp>
              <p:nvSpPr>
                <p:cNvPr id="161" name="Google Shape;7913;p76">
                  <a:extLst>
                    <a:ext uri="{FF2B5EF4-FFF2-40B4-BE49-F238E27FC236}">
                      <a16:creationId xmlns:a16="http://schemas.microsoft.com/office/drawing/2014/main" id="{A9D7762B-8CCF-48B4-AF78-ED5409AC2D2D}"/>
                    </a:ext>
                  </a:extLst>
                </p:cNvPr>
                <p:cNvSpPr/>
                <p:nvPr/>
              </p:nvSpPr>
              <p:spPr>
                <a:xfrm>
                  <a:off x="2883488" y="2544039"/>
                  <a:ext cx="92400" cy="92400"/>
                </a:xfrm>
                <a:prstGeom prst="ellipse">
                  <a:avLst/>
                </a:prstGeom>
                <a:solidFill>
                  <a:schemeClr val="tx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>
                    <a:ln>
                      <a:solidFill>
                        <a:sysClr val="windowText" lastClr="000000"/>
                      </a:solidFill>
                    </a:ln>
                    <a:solidFill>
                      <a:sysClr val="windowText" lastClr="000000"/>
                    </a:solidFill>
                  </a:endParaRPr>
                </a:p>
              </p:txBody>
            </p:sp>
          </p:grpSp>
          <p:sp>
            <p:nvSpPr>
              <p:cNvPr id="159" name="Google Shape;7914;p76">
                <a:extLst>
                  <a:ext uri="{FF2B5EF4-FFF2-40B4-BE49-F238E27FC236}">
                    <a16:creationId xmlns:a16="http://schemas.microsoft.com/office/drawing/2014/main" id="{FF7F1635-103B-41D4-BF0C-970BCFABC754}"/>
                  </a:ext>
                </a:extLst>
              </p:cNvPr>
              <p:cNvSpPr/>
              <p:nvPr/>
            </p:nvSpPr>
            <p:spPr>
              <a:xfrm>
                <a:off x="2558520" y="1191304"/>
                <a:ext cx="690900" cy="39300"/>
              </a:xfrm>
              <a:prstGeom prst="rect">
                <a:avLst/>
              </a:prstGeom>
              <a:no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>
                  <a:ln>
                    <a:solidFill>
                      <a:sysClr val="windowText" lastClr="000000"/>
                    </a:solidFill>
                  </a:ln>
                  <a:solidFill>
                    <a:sysClr val="windowText" lastClr="000000"/>
                  </a:solidFill>
                </a:endParaRPr>
              </a:p>
            </p:txBody>
          </p:sp>
        </p:grpSp>
      </p:grpSp>
      <p:sp>
        <p:nvSpPr>
          <p:cNvPr id="174" name="Google Shape;9964;p82">
            <a:extLst>
              <a:ext uri="{FF2B5EF4-FFF2-40B4-BE49-F238E27FC236}">
                <a16:creationId xmlns:a16="http://schemas.microsoft.com/office/drawing/2014/main" id="{7F7F1030-8C72-4A0F-A9F7-3E0D13F8E521}"/>
              </a:ext>
            </a:extLst>
          </p:cNvPr>
          <p:cNvSpPr/>
          <p:nvPr/>
        </p:nvSpPr>
        <p:spPr>
          <a:xfrm>
            <a:off x="4316455" y="1669084"/>
            <a:ext cx="825230" cy="565120"/>
          </a:xfrm>
          <a:custGeom>
            <a:avLst/>
            <a:gdLst/>
            <a:ahLst/>
            <a:cxnLst/>
            <a:rect l="l" t="t" r="r" b="b"/>
            <a:pathLst>
              <a:path w="11816" h="11721" extrusionOk="0">
                <a:moveTo>
                  <a:pt x="2395" y="631"/>
                </a:moveTo>
                <a:cubicBezTo>
                  <a:pt x="2584" y="631"/>
                  <a:pt x="2742" y="789"/>
                  <a:pt x="2742" y="978"/>
                </a:cubicBezTo>
                <a:cubicBezTo>
                  <a:pt x="2742" y="1167"/>
                  <a:pt x="2584" y="1324"/>
                  <a:pt x="2395" y="1324"/>
                </a:cubicBezTo>
                <a:lnTo>
                  <a:pt x="1009" y="1324"/>
                </a:lnTo>
                <a:cubicBezTo>
                  <a:pt x="820" y="1324"/>
                  <a:pt x="663" y="1167"/>
                  <a:pt x="663" y="978"/>
                </a:cubicBezTo>
                <a:cubicBezTo>
                  <a:pt x="663" y="789"/>
                  <a:pt x="820" y="631"/>
                  <a:pt x="1009" y="631"/>
                </a:cubicBezTo>
                <a:close/>
                <a:moveTo>
                  <a:pt x="6554" y="631"/>
                </a:moveTo>
                <a:cubicBezTo>
                  <a:pt x="6774" y="631"/>
                  <a:pt x="6932" y="789"/>
                  <a:pt x="6932" y="978"/>
                </a:cubicBezTo>
                <a:cubicBezTo>
                  <a:pt x="6932" y="1167"/>
                  <a:pt x="6774" y="1324"/>
                  <a:pt x="6554" y="1324"/>
                </a:cubicBezTo>
                <a:lnTo>
                  <a:pt x="5199" y="1324"/>
                </a:lnTo>
                <a:cubicBezTo>
                  <a:pt x="4979" y="1324"/>
                  <a:pt x="4821" y="1167"/>
                  <a:pt x="4821" y="978"/>
                </a:cubicBezTo>
                <a:cubicBezTo>
                  <a:pt x="4821" y="789"/>
                  <a:pt x="4979" y="631"/>
                  <a:pt x="5199" y="631"/>
                </a:cubicBezTo>
                <a:close/>
                <a:moveTo>
                  <a:pt x="10776" y="631"/>
                </a:moveTo>
                <a:cubicBezTo>
                  <a:pt x="10965" y="631"/>
                  <a:pt x="11122" y="789"/>
                  <a:pt x="11122" y="978"/>
                </a:cubicBezTo>
                <a:cubicBezTo>
                  <a:pt x="11122" y="1167"/>
                  <a:pt x="10965" y="1324"/>
                  <a:pt x="10776" y="1324"/>
                </a:cubicBezTo>
                <a:lnTo>
                  <a:pt x="9389" y="1324"/>
                </a:lnTo>
                <a:cubicBezTo>
                  <a:pt x="9200" y="1324"/>
                  <a:pt x="9043" y="1167"/>
                  <a:pt x="9043" y="978"/>
                </a:cubicBezTo>
                <a:cubicBezTo>
                  <a:pt x="9043" y="789"/>
                  <a:pt x="9200" y="631"/>
                  <a:pt x="9389" y="631"/>
                </a:cubicBezTo>
                <a:close/>
                <a:moveTo>
                  <a:pt x="7279" y="4790"/>
                </a:moveTo>
                <a:cubicBezTo>
                  <a:pt x="7468" y="4790"/>
                  <a:pt x="7625" y="4947"/>
                  <a:pt x="7625" y="5136"/>
                </a:cubicBezTo>
                <a:lnTo>
                  <a:pt x="7625" y="6554"/>
                </a:lnTo>
                <a:cubicBezTo>
                  <a:pt x="7625" y="6775"/>
                  <a:pt x="7468" y="6932"/>
                  <a:pt x="7279" y="6932"/>
                </a:cubicBezTo>
                <a:lnTo>
                  <a:pt x="4506" y="6932"/>
                </a:lnTo>
                <a:cubicBezTo>
                  <a:pt x="4317" y="6932"/>
                  <a:pt x="4160" y="6775"/>
                  <a:pt x="4160" y="6554"/>
                </a:cubicBezTo>
                <a:lnTo>
                  <a:pt x="4160" y="5136"/>
                </a:lnTo>
                <a:cubicBezTo>
                  <a:pt x="4160" y="4947"/>
                  <a:pt x="4317" y="4790"/>
                  <a:pt x="4506" y="4790"/>
                </a:cubicBezTo>
                <a:close/>
                <a:moveTo>
                  <a:pt x="2395" y="10398"/>
                </a:moveTo>
                <a:cubicBezTo>
                  <a:pt x="2584" y="10398"/>
                  <a:pt x="2742" y="10555"/>
                  <a:pt x="2742" y="10744"/>
                </a:cubicBezTo>
                <a:cubicBezTo>
                  <a:pt x="2742" y="10933"/>
                  <a:pt x="2584" y="11091"/>
                  <a:pt x="2395" y="11091"/>
                </a:cubicBezTo>
                <a:lnTo>
                  <a:pt x="1009" y="11091"/>
                </a:lnTo>
                <a:cubicBezTo>
                  <a:pt x="820" y="11091"/>
                  <a:pt x="663" y="10933"/>
                  <a:pt x="663" y="10744"/>
                </a:cubicBezTo>
                <a:cubicBezTo>
                  <a:pt x="663" y="10555"/>
                  <a:pt x="820" y="10398"/>
                  <a:pt x="1009" y="10398"/>
                </a:cubicBezTo>
                <a:close/>
                <a:moveTo>
                  <a:pt x="6585" y="10398"/>
                </a:moveTo>
                <a:cubicBezTo>
                  <a:pt x="6806" y="10398"/>
                  <a:pt x="6964" y="10555"/>
                  <a:pt x="6964" y="10744"/>
                </a:cubicBezTo>
                <a:cubicBezTo>
                  <a:pt x="6964" y="10933"/>
                  <a:pt x="6806" y="11091"/>
                  <a:pt x="6585" y="11091"/>
                </a:cubicBezTo>
                <a:lnTo>
                  <a:pt x="5231" y="11091"/>
                </a:lnTo>
                <a:cubicBezTo>
                  <a:pt x="5010" y="11091"/>
                  <a:pt x="4853" y="10933"/>
                  <a:pt x="4853" y="10744"/>
                </a:cubicBezTo>
                <a:cubicBezTo>
                  <a:pt x="4853" y="10555"/>
                  <a:pt x="5010" y="10398"/>
                  <a:pt x="5231" y="10398"/>
                </a:cubicBezTo>
                <a:close/>
                <a:moveTo>
                  <a:pt x="10776" y="10398"/>
                </a:moveTo>
                <a:cubicBezTo>
                  <a:pt x="10965" y="10398"/>
                  <a:pt x="11122" y="10555"/>
                  <a:pt x="11122" y="10744"/>
                </a:cubicBezTo>
                <a:cubicBezTo>
                  <a:pt x="11122" y="10933"/>
                  <a:pt x="10965" y="11091"/>
                  <a:pt x="10776" y="11091"/>
                </a:cubicBezTo>
                <a:lnTo>
                  <a:pt x="9389" y="11091"/>
                </a:lnTo>
                <a:cubicBezTo>
                  <a:pt x="9200" y="11091"/>
                  <a:pt x="9043" y="10933"/>
                  <a:pt x="9043" y="10744"/>
                </a:cubicBezTo>
                <a:cubicBezTo>
                  <a:pt x="9043" y="10555"/>
                  <a:pt x="9200" y="10398"/>
                  <a:pt x="9389" y="10398"/>
                </a:cubicBezTo>
                <a:close/>
                <a:moveTo>
                  <a:pt x="1009" y="1"/>
                </a:moveTo>
                <a:cubicBezTo>
                  <a:pt x="410" y="1"/>
                  <a:pt x="1" y="474"/>
                  <a:pt x="1" y="1009"/>
                </a:cubicBezTo>
                <a:cubicBezTo>
                  <a:pt x="1" y="1608"/>
                  <a:pt x="473" y="2049"/>
                  <a:pt x="1009" y="2049"/>
                </a:cubicBezTo>
                <a:lnTo>
                  <a:pt x="1356" y="2049"/>
                </a:lnTo>
                <a:lnTo>
                  <a:pt x="1356" y="2395"/>
                </a:lnTo>
                <a:cubicBezTo>
                  <a:pt x="1356" y="2994"/>
                  <a:pt x="1828" y="3403"/>
                  <a:pt x="2395" y="3403"/>
                </a:cubicBezTo>
                <a:lnTo>
                  <a:pt x="5546" y="3403"/>
                </a:lnTo>
                <a:lnTo>
                  <a:pt x="5546" y="4128"/>
                </a:lnTo>
                <a:lnTo>
                  <a:pt x="4506" y="4128"/>
                </a:lnTo>
                <a:cubicBezTo>
                  <a:pt x="3939" y="4128"/>
                  <a:pt x="3466" y="4601"/>
                  <a:pt x="3466" y="5136"/>
                </a:cubicBezTo>
                <a:lnTo>
                  <a:pt x="3466" y="6554"/>
                </a:lnTo>
                <a:cubicBezTo>
                  <a:pt x="3466" y="7153"/>
                  <a:pt x="3939" y="7594"/>
                  <a:pt x="4506" y="7594"/>
                </a:cubicBezTo>
                <a:lnTo>
                  <a:pt x="5546" y="7594"/>
                </a:lnTo>
                <a:lnTo>
                  <a:pt x="5546" y="8287"/>
                </a:lnTo>
                <a:lnTo>
                  <a:pt x="2395" y="8287"/>
                </a:lnTo>
                <a:cubicBezTo>
                  <a:pt x="1797" y="8287"/>
                  <a:pt x="1356" y="8759"/>
                  <a:pt x="1356" y="9326"/>
                </a:cubicBezTo>
                <a:lnTo>
                  <a:pt x="1356" y="9673"/>
                </a:lnTo>
                <a:lnTo>
                  <a:pt x="1009" y="9673"/>
                </a:lnTo>
                <a:cubicBezTo>
                  <a:pt x="410" y="9673"/>
                  <a:pt x="1" y="10146"/>
                  <a:pt x="1" y="10713"/>
                </a:cubicBezTo>
                <a:cubicBezTo>
                  <a:pt x="1" y="11280"/>
                  <a:pt x="473" y="11721"/>
                  <a:pt x="1009" y="11721"/>
                </a:cubicBezTo>
                <a:lnTo>
                  <a:pt x="2395" y="11721"/>
                </a:lnTo>
                <a:cubicBezTo>
                  <a:pt x="2994" y="11721"/>
                  <a:pt x="3403" y="11248"/>
                  <a:pt x="3403" y="10713"/>
                </a:cubicBezTo>
                <a:cubicBezTo>
                  <a:pt x="3403" y="10114"/>
                  <a:pt x="2931" y="9673"/>
                  <a:pt x="2395" y="9673"/>
                </a:cubicBezTo>
                <a:lnTo>
                  <a:pt x="2049" y="9673"/>
                </a:lnTo>
                <a:lnTo>
                  <a:pt x="2049" y="9326"/>
                </a:lnTo>
                <a:cubicBezTo>
                  <a:pt x="2049" y="9137"/>
                  <a:pt x="2206" y="8980"/>
                  <a:pt x="2395" y="8980"/>
                </a:cubicBezTo>
                <a:lnTo>
                  <a:pt x="5546" y="8980"/>
                </a:lnTo>
                <a:lnTo>
                  <a:pt x="5546" y="9673"/>
                </a:lnTo>
                <a:lnTo>
                  <a:pt x="5199" y="9673"/>
                </a:lnTo>
                <a:cubicBezTo>
                  <a:pt x="4601" y="9673"/>
                  <a:pt x="4160" y="10146"/>
                  <a:pt x="4160" y="10713"/>
                </a:cubicBezTo>
                <a:cubicBezTo>
                  <a:pt x="4160" y="11280"/>
                  <a:pt x="4632" y="11721"/>
                  <a:pt x="5199" y="11721"/>
                </a:cubicBezTo>
                <a:lnTo>
                  <a:pt x="6554" y="11721"/>
                </a:lnTo>
                <a:cubicBezTo>
                  <a:pt x="7153" y="11721"/>
                  <a:pt x="7594" y="11248"/>
                  <a:pt x="7594" y="10713"/>
                </a:cubicBezTo>
                <a:cubicBezTo>
                  <a:pt x="7594" y="10114"/>
                  <a:pt x="7121" y="9673"/>
                  <a:pt x="6554" y="9673"/>
                </a:cubicBezTo>
                <a:lnTo>
                  <a:pt x="6207" y="9673"/>
                </a:lnTo>
                <a:lnTo>
                  <a:pt x="6207" y="8980"/>
                </a:lnTo>
                <a:lnTo>
                  <a:pt x="9358" y="8980"/>
                </a:lnTo>
                <a:cubicBezTo>
                  <a:pt x="9547" y="8980"/>
                  <a:pt x="9704" y="9137"/>
                  <a:pt x="9704" y="9326"/>
                </a:cubicBezTo>
                <a:lnTo>
                  <a:pt x="9704" y="9673"/>
                </a:lnTo>
                <a:lnTo>
                  <a:pt x="9358" y="9673"/>
                </a:lnTo>
                <a:cubicBezTo>
                  <a:pt x="8759" y="9673"/>
                  <a:pt x="8350" y="10146"/>
                  <a:pt x="8350" y="10713"/>
                </a:cubicBezTo>
                <a:cubicBezTo>
                  <a:pt x="8350" y="11280"/>
                  <a:pt x="8791" y="11721"/>
                  <a:pt x="9358" y="11721"/>
                </a:cubicBezTo>
                <a:lnTo>
                  <a:pt x="10744" y="11721"/>
                </a:lnTo>
                <a:cubicBezTo>
                  <a:pt x="11311" y="11721"/>
                  <a:pt x="11752" y="11248"/>
                  <a:pt x="11752" y="10713"/>
                </a:cubicBezTo>
                <a:cubicBezTo>
                  <a:pt x="11752" y="10114"/>
                  <a:pt x="11280" y="9673"/>
                  <a:pt x="10744" y="9673"/>
                </a:cubicBezTo>
                <a:lnTo>
                  <a:pt x="10366" y="9673"/>
                </a:lnTo>
                <a:lnTo>
                  <a:pt x="10366" y="9326"/>
                </a:lnTo>
                <a:cubicBezTo>
                  <a:pt x="10366" y="8728"/>
                  <a:pt x="9925" y="8287"/>
                  <a:pt x="9358" y="8287"/>
                </a:cubicBezTo>
                <a:lnTo>
                  <a:pt x="6207" y="8287"/>
                </a:lnTo>
                <a:lnTo>
                  <a:pt x="6207" y="7594"/>
                </a:lnTo>
                <a:lnTo>
                  <a:pt x="7216" y="7594"/>
                </a:lnTo>
                <a:cubicBezTo>
                  <a:pt x="7814" y="7594"/>
                  <a:pt x="8287" y="7121"/>
                  <a:pt x="8287" y="6554"/>
                </a:cubicBezTo>
                <a:lnTo>
                  <a:pt x="8287" y="5136"/>
                </a:lnTo>
                <a:cubicBezTo>
                  <a:pt x="8287" y="4569"/>
                  <a:pt x="7814" y="4128"/>
                  <a:pt x="7216" y="4128"/>
                </a:cubicBezTo>
                <a:lnTo>
                  <a:pt x="6207" y="4128"/>
                </a:lnTo>
                <a:lnTo>
                  <a:pt x="6207" y="3403"/>
                </a:lnTo>
                <a:lnTo>
                  <a:pt x="9389" y="3403"/>
                </a:lnTo>
                <a:cubicBezTo>
                  <a:pt x="9988" y="3403"/>
                  <a:pt x="10429" y="2931"/>
                  <a:pt x="10429" y="2395"/>
                </a:cubicBezTo>
                <a:lnTo>
                  <a:pt x="10429" y="2049"/>
                </a:lnTo>
                <a:lnTo>
                  <a:pt x="10776" y="2049"/>
                </a:lnTo>
                <a:cubicBezTo>
                  <a:pt x="11374" y="2049"/>
                  <a:pt x="11815" y="1576"/>
                  <a:pt x="11815" y="1009"/>
                </a:cubicBezTo>
                <a:cubicBezTo>
                  <a:pt x="11815" y="411"/>
                  <a:pt x="11343" y="1"/>
                  <a:pt x="10776" y="1"/>
                </a:cubicBezTo>
                <a:lnTo>
                  <a:pt x="9389" y="1"/>
                </a:lnTo>
                <a:cubicBezTo>
                  <a:pt x="8822" y="1"/>
                  <a:pt x="8381" y="474"/>
                  <a:pt x="8381" y="1009"/>
                </a:cubicBezTo>
                <a:cubicBezTo>
                  <a:pt x="8381" y="1608"/>
                  <a:pt x="8854" y="2049"/>
                  <a:pt x="9389" y="2049"/>
                </a:cubicBezTo>
                <a:lnTo>
                  <a:pt x="9767" y="2049"/>
                </a:lnTo>
                <a:lnTo>
                  <a:pt x="9767" y="2395"/>
                </a:lnTo>
                <a:cubicBezTo>
                  <a:pt x="9767" y="2584"/>
                  <a:pt x="9610" y="2742"/>
                  <a:pt x="9389" y="2742"/>
                </a:cubicBezTo>
                <a:lnTo>
                  <a:pt x="6239" y="2742"/>
                </a:lnTo>
                <a:lnTo>
                  <a:pt x="6239" y="2049"/>
                </a:lnTo>
                <a:lnTo>
                  <a:pt x="6617" y="2049"/>
                </a:lnTo>
                <a:cubicBezTo>
                  <a:pt x="7184" y="2049"/>
                  <a:pt x="7625" y="1576"/>
                  <a:pt x="7625" y="1009"/>
                </a:cubicBezTo>
                <a:cubicBezTo>
                  <a:pt x="7625" y="411"/>
                  <a:pt x="7153" y="1"/>
                  <a:pt x="6617" y="1"/>
                </a:cubicBezTo>
                <a:lnTo>
                  <a:pt x="5231" y="1"/>
                </a:lnTo>
                <a:cubicBezTo>
                  <a:pt x="4632" y="1"/>
                  <a:pt x="4191" y="474"/>
                  <a:pt x="4191" y="1009"/>
                </a:cubicBezTo>
                <a:cubicBezTo>
                  <a:pt x="4191" y="1608"/>
                  <a:pt x="4664" y="2049"/>
                  <a:pt x="5231" y="2049"/>
                </a:cubicBezTo>
                <a:lnTo>
                  <a:pt x="5577" y="2049"/>
                </a:lnTo>
                <a:lnTo>
                  <a:pt x="5577" y="2742"/>
                </a:lnTo>
                <a:lnTo>
                  <a:pt x="2427" y="2742"/>
                </a:lnTo>
                <a:cubicBezTo>
                  <a:pt x="2238" y="2742"/>
                  <a:pt x="2080" y="2584"/>
                  <a:pt x="2080" y="2395"/>
                </a:cubicBezTo>
                <a:lnTo>
                  <a:pt x="2080" y="2049"/>
                </a:lnTo>
                <a:lnTo>
                  <a:pt x="2427" y="2049"/>
                </a:lnTo>
                <a:cubicBezTo>
                  <a:pt x="3025" y="2049"/>
                  <a:pt x="3466" y="1576"/>
                  <a:pt x="3466" y="1009"/>
                </a:cubicBezTo>
                <a:cubicBezTo>
                  <a:pt x="3466" y="411"/>
                  <a:pt x="2994" y="1"/>
                  <a:pt x="2427" y="1"/>
                </a:cubicBezTo>
                <a:close/>
              </a:path>
            </a:pathLst>
          </a:custGeom>
          <a:solidFill>
            <a:srgbClr val="0D559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75" name="Google Shape;9848;p82">
            <a:extLst>
              <a:ext uri="{FF2B5EF4-FFF2-40B4-BE49-F238E27FC236}">
                <a16:creationId xmlns:a16="http://schemas.microsoft.com/office/drawing/2014/main" id="{987DE6E5-12E5-47AB-A48F-05F8C49BB236}"/>
              </a:ext>
            </a:extLst>
          </p:cNvPr>
          <p:cNvGrpSpPr/>
          <p:nvPr/>
        </p:nvGrpSpPr>
        <p:grpSpPr>
          <a:xfrm>
            <a:off x="2635087" y="4660151"/>
            <a:ext cx="494619" cy="568894"/>
            <a:chOff x="6479471" y="2079003"/>
            <a:chExt cx="348923" cy="348706"/>
          </a:xfrm>
          <a:solidFill>
            <a:srgbClr val="0D5592"/>
          </a:solidFill>
        </p:grpSpPr>
        <p:sp>
          <p:nvSpPr>
            <p:cNvPr id="176" name="Google Shape;9849;p82">
              <a:extLst>
                <a:ext uri="{FF2B5EF4-FFF2-40B4-BE49-F238E27FC236}">
                  <a16:creationId xmlns:a16="http://schemas.microsoft.com/office/drawing/2014/main" id="{073CB6C4-FB7F-49D1-856E-39F608B45430}"/>
                </a:ext>
              </a:extLst>
            </p:cNvPr>
            <p:cNvSpPr/>
            <p:nvPr/>
          </p:nvSpPr>
          <p:spPr>
            <a:xfrm>
              <a:off x="6479471" y="2200291"/>
              <a:ext cx="38170" cy="22566"/>
            </a:xfrm>
            <a:custGeom>
              <a:avLst/>
              <a:gdLst/>
              <a:ahLst/>
              <a:cxnLst/>
              <a:rect l="l" t="t" r="r" b="b"/>
              <a:pathLst>
                <a:path w="1387" h="820" extrusionOk="0">
                  <a:moveTo>
                    <a:pt x="379" y="0"/>
                  </a:moveTo>
                  <a:cubicBezTo>
                    <a:pt x="158" y="0"/>
                    <a:pt x="1" y="189"/>
                    <a:pt x="1" y="378"/>
                  </a:cubicBezTo>
                  <a:cubicBezTo>
                    <a:pt x="1" y="630"/>
                    <a:pt x="190" y="819"/>
                    <a:pt x="379" y="819"/>
                  </a:cubicBezTo>
                  <a:lnTo>
                    <a:pt x="946" y="819"/>
                  </a:lnTo>
                  <a:cubicBezTo>
                    <a:pt x="1166" y="819"/>
                    <a:pt x="1387" y="630"/>
                    <a:pt x="1387" y="378"/>
                  </a:cubicBezTo>
                  <a:cubicBezTo>
                    <a:pt x="1387" y="189"/>
                    <a:pt x="1166" y="0"/>
                    <a:pt x="94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77" name="Google Shape;9850;p82">
              <a:extLst>
                <a:ext uri="{FF2B5EF4-FFF2-40B4-BE49-F238E27FC236}">
                  <a16:creationId xmlns:a16="http://schemas.microsoft.com/office/drawing/2014/main" id="{BA22B91D-77EE-4B3B-8405-70A77D6A47B0}"/>
                </a:ext>
              </a:extLst>
            </p:cNvPr>
            <p:cNvGrpSpPr/>
            <p:nvPr/>
          </p:nvGrpSpPr>
          <p:grpSpPr>
            <a:xfrm>
              <a:off x="6520582" y="2079003"/>
              <a:ext cx="307811" cy="348706"/>
              <a:chOff x="-60218325" y="2304850"/>
              <a:chExt cx="279625" cy="316775"/>
            </a:xfrm>
            <a:grpFill/>
          </p:grpSpPr>
          <p:sp>
            <p:nvSpPr>
              <p:cNvPr id="178" name="Google Shape;9851;p82">
                <a:extLst>
                  <a:ext uri="{FF2B5EF4-FFF2-40B4-BE49-F238E27FC236}">
                    <a16:creationId xmlns:a16="http://schemas.microsoft.com/office/drawing/2014/main" id="{53595036-0E99-4F47-A061-1A20190F4F88}"/>
                  </a:ext>
                </a:extLst>
              </p:cNvPr>
              <p:cNvSpPr/>
              <p:nvPr/>
            </p:nvSpPr>
            <p:spPr>
              <a:xfrm>
                <a:off x="-60218325" y="2304850"/>
                <a:ext cx="235525" cy="316775"/>
              </a:xfrm>
              <a:custGeom>
                <a:avLst/>
                <a:gdLst/>
                <a:ahLst/>
                <a:cxnLst/>
                <a:rect l="l" t="t" r="r" b="b"/>
                <a:pathLst>
                  <a:path w="9421" h="12671" extrusionOk="0">
                    <a:moveTo>
                      <a:pt x="4884" y="825"/>
                    </a:moveTo>
                    <a:cubicBezTo>
                      <a:pt x="6994" y="825"/>
                      <a:pt x="8633" y="2463"/>
                      <a:pt x="8633" y="4542"/>
                    </a:cubicBezTo>
                    <a:cubicBezTo>
                      <a:pt x="8570" y="6023"/>
                      <a:pt x="7688" y="7378"/>
                      <a:pt x="6364" y="7945"/>
                    </a:cubicBezTo>
                    <a:cubicBezTo>
                      <a:pt x="6207" y="8039"/>
                      <a:pt x="6112" y="8165"/>
                      <a:pt x="6112" y="8354"/>
                    </a:cubicBezTo>
                    <a:lnTo>
                      <a:pt x="6112" y="8543"/>
                    </a:lnTo>
                    <a:lnTo>
                      <a:pt x="3623" y="8543"/>
                    </a:lnTo>
                    <a:lnTo>
                      <a:pt x="3623" y="8354"/>
                    </a:lnTo>
                    <a:cubicBezTo>
                      <a:pt x="3623" y="8197"/>
                      <a:pt x="3560" y="8039"/>
                      <a:pt x="3403" y="7945"/>
                    </a:cubicBezTo>
                    <a:cubicBezTo>
                      <a:pt x="1828" y="7251"/>
                      <a:pt x="914" y="5582"/>
                      <a:pt x="1229" y="3880"/>
                    </a:cubicBezTo>
                    <a:cubicBezTo>
                      <a:pt x="1481" y="2431"/>
                      <a:pt x="2647" y="1203"/>
                      <a:pt x="4096" y="888"/>
                    </a:cubicBezTo>
                    <a:cubicBezTo>
                      <a:pt x="4379" y="856"/>
                      <a:pt x="4663" y="825"/>
                      <a:pt x="4884" y="825"/>
                    </a:cubicBezTo>
                    <a:close/>
                    <a:moveTo>
                      <a:pt x="6081" y="9362"/>
                    </a:moveTo>
                    <a:lnTo>
                      <a:pt x="6081" y="10213"/>
                    </a:lnTo>
                    <a:lnTo>
                      <a:pt x="3592" y="10213"/>
                    </a:lnTo>
                    <a:lnTo>
                      <a:pt x="3592" y="9362"/>
                    </a:lnTo>
                    <a:close/>
                    <a:moveTo>
                      <a:pt x="5986" y="11032"/>
                    </a:moveTo>
                    <a:cubicBezTo>
                      <a:pt x="5829" y="11505"/>
                      <a:pt x="5419" y="11851"/>
                      <a:pt x="4852" y="11851"/>
                    </a:cubicBezTo>
                    <a:cubicBezTo>
                      <a:pt x="4316" y="11851"/>
                      <a:pt x="3875" y="11505"/>
                      <a:pt x="3686" y="11032"/>
                    </a:cubicBezTo>
                    <a:close/>
                    <a:moveTo>
                      <a:pt x="4842" y="0"/>
                    </a:moveTo>
                    <a:cubicBezTo>
                      <a:pt x="4526" y="0"/>
                      <a:pt x="4202" y="32"/>
                      <a:pt x="3875" y="100"/>
                    </a:cubicBezTo>
                    <a:cubicBezTo>
                      <a:pt x="2111" y="509"/>
                      <a:pt x="693" y="1959"/>
                      <a:pt x="378" y="3723"/>
                    </a:cubicBezTo>
                    <a:cubicBezTo>
                      <a:pt x="0" y="5834"/>
                      <a:pt x="1071" y="7724"/>
                      <a:pt x="2773" y="8575"/>
                    </a:cubicBezTo>
                    <a:lnTo>
                      <a:pt x="2773" y="10591"/>
                    </a:lnTo>
                    <a:cubicBezTo>
                      <a:pt x="2773" y="11725"/>
                      <a:pt x="3718" y="12670"/>
                      <a:pt x="4852" y="12670"/>
                    </a:cubicBezTo>
                    <a:cubicBezTo>
                      <a:pt x="5986" y="12670"/>
                      <a:pt x="6963" y="11725"/>
                      <a:pt x="6963" y="10591"/>
                    </a:cubicBezTo>
                    <a:lnTo>
                      <a:pt x="6963" y="8575"/>
                    </a:lnTo>
                    <a:cubicBezTo>
                      <a:pt x="8444" y="7787"/>
                      <a:pt x="9420" y="6243"/>
                      <a:pt x="9420" y="4511"/>
                    </a:cubicBezTo>
                    <a:cubicBezTo>
                      <a:pt x="9392" y="1995"/>
                      <a:pt x="7331" y="0"/>
                      <a:pt x="484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9" name="Google Shape;9852;p82">
                <a:extLst>
                  <a:ext uri="{FF2B5EF4-FFF2-40B4-BE49-F238E27FC236}">
                    <a16:creationId xmlns:a16="http://schemas.microsoft.com/office/drawing/2014/main" id="{8C4B5A67-798C-488F-AAE8-D349D5424AE1}"/>
                  </a:ext>
                </a:extLst>
              </p:cNvPr>
              <p:cNvSpPr/>
              <p:nvPr/>
            </p:nvSpPr>
            <p:spPr>
              <a:xfrm>
                <a:off x="-60127750" y="2347500"/>
                <a:ext cx="62250" cy="145750"/>
              </a:xfrm>
              <a:custGeom>
                <a:avLst/>
                <a:gdLst/>
                <a:ahLst/>
                <a:cxnLst/>
                <a:rect l="l" t="t" r="r" b="b"/>
                <a:pathLst>
                  <a:path w="2490" h="5830" extrusionOk="0">
                    <a:moveTo>
                      <a:pt x="1229" y="1"/>
                    </a:moveTo>
                    <a:cubicBezTo>
                      <a:pt x="1009" y="1"/>
                      <a:pt x="851" y="190"/>
                      <a:pt x="851" y="379"/>
                    </a:cubicBezTo>
                    <a:lnTo>
                      <a:pt x="851" y="662"/>
                    </a:lnTo>
                    <a:cubicBezTo>
                      <a:pt x="378" y="820"/>
                      <a:pt x="0" y="1292"/>
                      <a:pt x="0" y="1828"/>
                    </a:cubicBezTo>
                    <a:cubicBezTo>
                      <a:pt x="0" y="2521"/>
                      <a:pt x="567" y="2899"/>
                      <a:pt x="1009" y="3214"/>
                    </a:cubicBezTo>
                    <a:cubicBezTo>
                      <a:pt x="1324" y="3466"/>
                      <a:pt x="1670" y="3687"/>
                      <a:pt x="1670" y="3939"/>
                    </a:cubicBezTo>
                    <a:cubicBezTo>
                      <a:pt x="1670" y="4159"/>
                      <a:pt x="1481" y="4348"/>
                      <a:pt x="1229" y="4348"/>
                    </a:cubicBezTo>
                    <a:cubicBezTo>
                      <a:pt x="1009" y="4348"/>
                      <a:pt x="851" y="4159"/>
                      <a:pt x="851" y="3939"/>
                    </a:cubicBezTo>
                    <a:cubicBezTo>
                      <a:pt x="851" y="3687"/>
                      <a:pt x="630" y="3498"/>
                      <a:pt x="441" y="3498"/>
                    </a:cubicBezTo>
                    <a:cubicBezTo>
                      <a:pt x="221" y="3498"/>
                      <a:pt x="0" y="3687"/>
                      <a:pt x="0" y="3939"/>
                    </a:cubicBezTo>
                    <a:cubicBezTo>
                      <a:pt x="0" y="4474"/>
                      <a:pt x="378" y="4915"/>
                      <a:pt x="851" y="5104"/>
                    </a:cubicBezTo>
                    <a:lnTo>
                      <a:pt x="851" y="5388"/>
                    </a:lnTo>
                    <a:cubicBezTo>
                      <a:pt x="851" y="5608"/>
                      <a:pt x="1040" y="5829"/>
                      <a:pt x="1229" y="5829"/>
                    </a:cubicBezTo>
                    <a:cubicBezTo>
                      <a:pt x="1481" y="5829"/>
                      <a:pt x="1670" y="5608"/>
                      <a:pt x="1670" y="5388"/>
                    </a:cubicBezTo>
                    <a:lnTo>
                      <a:pt x="1670" y="5104"/>
                    </a:lnTo>
                    <a:cubicBezTo>
                      <a:pt x="2143" y="4947"/>
                      <a:pt x="2489" y="4474"/>
                      <a:pt x="2489" y="3939"/>
                    </a:cubicBezTo>
                    <a:cubicBezTo>
                      <a:pt x="2489" y="3246"/>
                      <a:pt x="1954" y="2868"/>
                      <a:pt x="1513" y="2553"/>
                    </a:cubicBezTo>
                    <a:cubicBezTo>
                      <a:pt x="1198" y="2300"/>
                      <a:pt x="851" y="2080"/>
                      <a:pt x="851" y="1828"/>
                    </a:cubicBezTo>
                    <a:cubicBezTo>
                      <a:pt x="788" y="1607"/>
                      <a:pt x="1009" y="1418"/>
                      <a:pt x="1229" y="1418"/>
                    </a:cubicBezTo>
                    <a:cubicBezTo>
                      <a:pt x="1481" y="1418"/>
                      <a:pt x="1670" y="1607"/>
                      <a:pt x="1670" y="1828"/>
                    </a:cubicBezTo>
                    <a:cubicBezTo>
                      <a:pt x="1670" y="2080"/>
                      <a:pt x="1859" y="2269"/>
                      <a:pt x="2048" y="2269"/>
                    </a:cubicBezTo>
                    <a:cubicBezTo>
                      <a:pt x="2300" y="2269"/>
                      <a:pt x="2489" y="2080"/>
                      <a:pt x="2489" y="1828"/>
                    </a:cubicBezTo>
                    <a:cubicBezTo>
                      <a:pt x="2489" y="1292"/>
                      <a:pt x="2143" y="851"/>
                      <a:pt x="1670" y="662"/>
                    </a:cubicBezTo>
                    <a:lnTo>
                      <a:pt x="1670" y="379"/>
                    </a:lnTo>
                    <a:cubicBezTo>
                      <a:pt x="1670" y="158"/>
                      <a:pt x="1481" y="1"/>
                      <a:pt x="1229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80" name="Google Shape;9853;p82">
                <a:extLst>
                  <a:ext uri="{FF2B5EF4-FFF2-40B4-BE49-F238E27FC236}">
                    <a16:creationId xmlns:a16="http://schemas.microsoft.com/office/drawing/2014/main" id="{B256684C-BA26-4058-8BE6-0FDC20174FDC}"/>
                  </a:ext>
                </a:extLst>
              </p:cNvPr>
              <p:cNvSpPr/>
              <p:nvPr/>
            </p:nvSpPr>
            <p:spPr>
              <a:xfrm>
                <a:off x="-60212825" y="2510750"/>
                <a:ext cx="32325" cy="30325"/>
              </a:xfrm>
              <a:custGeom>
                <a:avLst/>
                <a:gdLst/>
                <a:ahLst/>
                <a:cxnLst/>
                <a:rect l="l" t="t" r="r" b="b"/>
                <a:pathLst>
                  <a:path w="1293" h="1213" extrusionOk="0">
                    <a:moveTo>
                      <a:pt x="836" y="0"/>
                    </a:moveTo>
                    <a:cubicBezTo>
                      <a:pt x="725" y="0"/>
                      <a:pt x="615" y="39"/>
                      <a:pt x="536" y="118"/>
                    </a:cubicBezTo>
                    <a:lnTo>
                      <a:pt x="158" y="496"/>
                    </a:lnTo>
                    <a:cubicBezTo>
                      <a:pt x="1" y="654"/>
                      <a:pt x="1" y="906"/>
                      <a:pt x="158" y="1095"/>
                    </a:cubicBezTo>
                    <a:cubicBezTo>
                      <a:pt x="237" y="1174"/>
                      <a:pt x="340" y="1213"/>
                      <a:pt x="442" y="1213"/>
                    </a:cubicBezTo>
                    <a:cubicBezTo>
                      <a:pt x="544" y="1213"/>
                      <a:pt x="647" y="1174"/>
                      <a:pt x="725" y="1095"/>
                    </a:cubicBezTo>
                    <a:lnTo>
                      <a:pt x="1135" y="717"/>
                    </a:lnTo>
                    <a:cubicBezTo>
                      <a:pt x="1293" y="559"/>
                      <a:pt x="1293" y="276"/>
                      <a:pt x="1135" y="118"/>
                    </a:cubicBezTo>
                    <a:cubicBezTo>
                      <a:pt x="1056" y="39"/>
                      <a:pt x="946" y="0"/>
                      <a:pt x="83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81" name="Google Shape;9854;p82">
                <a:extLst>
                  <a:ext uri="{FF2B5EF4-FFF2-40B4-BE49-F238E27FC236}">
                    <a16:creationId xmlns:a16="http://schemas.microsoft.com/office/drawing/2014/main" id="{C63B0F89-6B0B-4E59-944E-B7803679D810}"/>
                  </a:ext>
                </a:extLst>
              </p:cNvPr>
              <p:cNvSpPr/>
              <p:nvPr/>
            </p:nvSpPr>
            <p:spPr>
              <a:xfrm>
                <a:off x="-60012750" y="2310675"/>
                <a:ext cx="32300" cy="30350"/>
              </a:xfrm>
              <a:custGeom>
                <a:avLst/>
                <a:gdLst/>
                <a:ahLst/>
                <a:cxnLst/>
                <a:rect l="l" t="t" r="r" b="b"/>
                <a:pathLst>
                  <a:path w="1292" h="1214" extrusionOk="0">
                    <a:moveTo>
                      <a:pt x="835" y="1"/>
                    </a:moveTo>
                    <a:cubicBezTo>
                      <a:pt x="725" y="1"/>
                      <a:pt x="614" y="40"/>
                      <a:pt x="536" y="119"/>
                    </a:cubicBezTo>
                    <a:lnTo>
                      <a:pt x="126" y="528"/>
                    </a:lnTo>
                    <a:cubicBezTo>
                      <a:pt x="0" y="686"/>
                      <a:pt x="0" y="938"/>
                      <a:pt x="126" y="1096"/>
                    </a:cubicBezTo>
                    <a:cubicBezTo>
                      <a:pt x="205" y="1174"/>
                      <a:pt x="315" y="1214"/>
                      <a:pt x="425" y="1214"/>
                    </a:cubicBezTo>
                    <a:cubicBezTo>
                      <a:pt x="536" y="1214"/>
                      <a:pt x="646" y="1174"/>
                      <a:pt x="725" y="1096"/>
                    </a:cubicBezTo>
                    <a:lnTo>
                      <a:pt x="1134" y="718"/>
                    </a:lnTo>
                    <a:cubicBezTo>
                      <a:pt x="1292" y="560"/>
                      <a:pt x="1292" y="276"/>
                      <a:pt x="1134" y="119"/>
                    </a:cubicBezTo>
                    <a:cubicBezTo>
                      <a:pt x="1056" y="40"/>
                      <a:pt x="945" y="1"/>
                      <a:pt x="835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82" name="Google Shape;9855;p82">
                <a:extLst>
                  <a:ext uri="{FF2B5EF4-FFF2-40B4-BE49-F238E27FC236}">
                    <a16:creationId xmlns:a16="http://schemas.microsoft.com/office/drawing/2014/main" id="{5C3AADE6-5258-4968-9A42-2A74201A7B77}"/>
                  </a:ext>
                </a:extLst>
              </p:cNvPr>
              <p:cNvSpPr/>
              <p:nvPr/>
            </p:nvSpPr>
            <p:spPr>
              <a:xfrm>
                <a:off x="-60012750" y="2510750"/>
                <a:ext cx="32300" cy="30325"/>
              </a:xfrm>
              <a:custGeom>
                <a:avLst/>
                <a:gdLst/>
                <a:ahLst/>
                <a:cxnLst/>
                <a:rect l="l" t="t" r="r" b="b"/>
                <a:pathLst>
                  <a:path w="1292" h="1213" extrusionOk="0">
                    <a:moveTo>
                      <a:pt x="425" y="0"/>
                    </a:moveTo>
                    <a:cubicBezTo>
                      <a:pt x="315" y="0"/>
                      <a:pt x="205" y="39"/>
                      <a:pt x="126" y="118"/>
                    </a:cubicBezTo>
                    <a:cubicBezTo>
                      <a:pt x="0" y="276"/>
                      <a:pt x="0" y="559"/>
                      <a:pt x="126" y="717"/>
                    </a:cubicBezTo>
                    <a:lnTo>
                      <a:pt x="536" y="1095"/>
                    </a:lnTo>
                    <a:cubicBezTo>
                      <a:pt x="614" y="1174"/>
                      <a:pt x="725" y="1213"/>
                      <a:pt x="835" y="1213"/>
                    </a:cubicBezTo>
                    <a:cubicBezTo>
                      <a:pt x="945" y="1213"/>
                      <a:pt x="1056" y="1174"/>
                      <a:pt x="1134" y="1095"/>
                    </a:cubicBezTo>
                    <a:cubicBezTo>
                      <a:pt x="1292" y="937"/>
                      <a:pt x="1292" y="654"/>
                      <a:pt x="1134" y="496"/>
                    </a:cubicBezTo>
                    <a:lnTo>
                      <a:pt x="725" y="118"/>
                    </a:lnTo>
                    <a:cubicBezTo>
                      <a:pt x="646" y="39"/>
                      <a:pt x="536" y="0"/>
                      <a:pt x="42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83" name="Google Shape;9856;p82">
                <a:extLst>
                  <a:ext uri="{FF2B5EF4-FFF2-40B4-BE49-F238E27FC236}">
                    <a16:creationId xmlns:a16="http://schemas.microsoft.com/office/drawing/2014/main" id="{BC8393B5-21B4-4DB7-B80A-61C763B0195B}"/>
                  </a:ext>
                </a:extLst>
              </p:cNvPr>
              <p:cNvSpPr/>
              <p:nvPr/>
            </p:nvSpPr>
            <p:spPr>
              <a:xfrm>
                <a:off x="-60212825" y="2310675"/>
                <a:ext cx="32325" cy="30350"/>
              </a:xfrm>
              <a:custGeom>
                <a:avLst/>
                <a:gdLst/>
                <a:ahLst/>
                <a:cxnLst/>
                <a:rect l="l" t="t" r="r" b="b"/>
                <a:pathLst>
                  <a:path w="1293" h="1214" extrusionOk="0">
                    <a:moveTo>
                      <a:pt x="442" y="1"/>
                    </a:moveTo>
                    <a:cubicBezTo>
                      <a:pt x="340" y="1"/>
                      <a:pt x="237" y="40"/>
                      <a:pt x="158" y="119"/>
                    </a:cubicBezTo>
                    <a:cubicBezTo>
                      <a:pt x="1" y="276"/>
                      <a:pt x="1" y="560"/>
                      <a:pt x="158" y="718"/>
                    </a:cubicBezTo>
                    <a:lnTo>
                      <a:pt x="536" y="1096"/>
                    </a:lnTo>
                    <a:cubicBezTo>
                      <a:pt x="615" y="1174"/>
                      <a:pt x="725" y="1214"/>
                      <a:pt x="836" y="1214"/>
                    </a:cubicBezTo>
                    <a:cubicBezTo>
                      <a:pt x="946" y="1214"/>
                      <a:pt x="1056" y="1174"/>
                      <a:pt x="1135" y="1096"/>
                    </a:cubicBezTo>
                    <a:cubicBezTo>
                      <a:pt x="1293" y="938"/>
                      <a:pt x="1293" y="686"/>
                      <a:pt x="1135" y="528"/>
                    </a:cubicBezTo>
                    <a:lnTo>
                      <a:pt x="725" y="119"/>
                    </a:lnTo>
                    <a:cubicBezTo>
                      <a:pt x="647" y="40"/>
                      <a:pt x="544" y="1"/>
                      <a:pt x="442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84" name="Google Shape;9857;p82">
                <a:extLst>
                  <a:ext uri="{FF2B5EF4-FFF2-40B4-BE49-F238E27FC236}">
                    <a16:creationId xmlns:a16="http://schemas.microsoft.com/office/drawing/2014/main" id="{43547C41-8326-49FE-8A8D-A70B96881607}"/>
                  </a:ext>
                </a:extLst>
              </p:cNvPr>
              <p:cNvSpPr/>
              <p:nvPr/>
            </p:nvSpPr>
            <p:spPr>
              <a:xfrm>
                <a:off x="-59974175" y="2415250"/>
                <a:ext cx="35475" cy="20500"/>
              </a:xfrm>
              <a:custGeom>
                <a:avLst/>
                <a:gdLst/>
                <a:ahLst/>
                <a:cxnLst/>
                <a:rect l="l" t="t" r="r" b="b"/>
                <a:pathLst>
                  <a:path w="1419" h="820" extrusionOk="0">
                    <a:moveTo>
                      <a:pt x="442" y="0"/>
                    </a:moveTo>
                    <a:cubicBezTo>
                      <a:pt x="221" y="0"/>
                      <a:pt x="1" y="189"/>
                      <a:pt x="1" y="378"/>
                    </a:cubicBezTo>
                    <a:cubicBezTo>
                      <a:pt x="1" y="630"/>
                      <a:pt x="221" y="819"/>
                      <a:pt x="442" y="819"/>
                    </a:cubicBezTo>
                    <a:lnTo>
                      <a:pt x="1009" y="819"/>
                    </a:lnTo>
                    <a:cubicBezTo>
                      <a:pt x="1230" y="819"/>
                      <a:pt x="1387" y="630"/>
                      <a:pt x="1387" y="378"/>
                    </a:cubicBezTo>
                    <a:cubicBezTo>
                      <a:pt x="1419" y="189"/>
                      <a:pt x="1230" y="0"/>
                      <a:pt x="100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cxnSp>
        <p:nvCxnSpPr>
          <p:cNvPr id="192" name="Google Shape;7896;p76">
            <a:extLst>
              <a:ext uri="{FF2B5EF4-FFF2-40B4-BE49-F238E27FC236}">
                <a16:creationId xmlns:a16="http://schemas.microsoft.com/office/drawing/2014/main" id="{AE0DE7EF-FDA7-4BB2-A081-55EDFD3090C4}"/>
              </a:ext>
            </a:extLst>
          </p:cNvPr>
          <p:cNvCxnSpPr/>
          <p:nvPr/>
        </p:nvCxnSpPr>
        <p:spPr>
          <a:xfrm flipV="1">
            <a:off x="2797907" y="3511500"/>
            <a:ext cx="0" cy="495898"/>
          </a:xfrm>
          <a:prstGeom prst="straightConnector1">
            <a:avLst/>
          </a:prstGeom>
          <a:noFill/>
          <a:ln w="9525" cap="flat" cmpd="sng">
            <a:solidFill>
              <a:srgbClr val="667E9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93" name="Google Shape;7897;p76">
            <a:extLst>
              <a:ext uri="{FF2B5EF4-FFF2-40B4-BE49-F238E27FC236}">
                <a16:creationId xmlns:a16="http://schemas.microsoft.com/office/drawing/2014/main" id="{CCF4FEA5-1005-4405-A033-0E223BEBA0AD}"/>
              </a:ext>
            </a:extLst>
          </p:cNvPr>
          <p:cNvSpPr/>
          <p:nvPr/>
        </p:nvSpPr>
        <p:spPr>
          <a:xfrm flipV="1">
            <a:off x="2738790" y="3971728"/>
            <a:ext cx="112339" cy="12749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</a:endParaRPr>
          </a:p>
        </p:txBody>
      </p:sp>
      <p:cxnSp>
        <p:nvCxnSpPr>
          <p:cNvPr id="194" name="Google Shape;7896;p76">
            <a:extLst>
              <a:ext uri="{FF2B5EF4-FFF2-40B4-BE49-F238E27FC236}">
                <a16:creationId xmlns:a16="http://schemas.microsoft.com/office/drawing/2014/main" id="{8D90A3AF-10B6-4E63-96C9-7BD3376C62AC}"/>
              </a:ext>
            </a:extLst>
          </p:cNvPr>
          <p:cNvCxnSpPr/>
          <p:nvPr/>
        </p:nvCxnSpPr>
        <p:spPr>
          <a:xfrm flipV="1">
            <a:off x="5386585" y="3507667"/>
            <a:ext cx="0" cy="495898"/>
          </a:xfrm>
          <a:prstGeom prst="straightConnector1">
            <a:avLst/>
          </a:prstGeom>
          <a:noFill/>
          <a:ln w="9525" cap="flat" cmpd="sng">
            <a:solidFill>
              <a:srgbClr val="667E9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95" name="Google Shape;7897;p76">
            <a:extLst>
              <a:ext uri="{FF2B5EF4-FFF2-40B4-BE49-F238E27FC236}">
                <a16:creationId xmlns:a16="http://schemas.microsoft.com/office/drawing/2014/main" id="{583B8A50-BEFB-4AD9-B626-4F8A71C7F31E}"/>
              </a:ext>
            </a:extLst>
          </p:cNvPr>
          <p:cNvSpPr/>
          <p:nvPr/>
        </p:nvSpPr>
        <p:spPr>
          <a:xfrm flipV="1">
            <a:off x="5339486" y="3968214"/>
            <a:ext cx="112339" cy="12749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</a:endParaRPr>
          </a:p>
        </p:txBody>
      </p:sp>
      <p:cxnSp>
        <p:nvCxnSpPr>
          <p:cNvPr id="196" name="Google Shape;7912;p76">
            <a:extLst>
              <a:ext uri="{FF2B5EF4-FFF2-40B4-BE49-F238E27FC236}">
                <a16:creationId xmlns:a16="http://schemas.microsoft.com/office/drawing/2014/main" id="{07CF2FDE-B60D-450F-A171-2149BD5FBDBD}"/>
              </a:ext>
            </a:extLst>
          </p:cNvPr>
          <p:cNvCxnSpPr/>
          <p:nvPr/>
        </p:nvCxnSpPr>
        <p:spPr>
          <a:xfrm rot="10800000" flipV="1">
            <a:off x="8025160" y="3514420"/>
            <a:ext cx="0" cy="495883"/>
          </a:xfrm>
          <a:prstGeom prst="straightConnector1">
            <a:avLst/>
          </a:prstGeom>
          <a:noFill/>
          <a:ln w="9525" cap="flat" cmpd="sng">
            <a:solidFill>
              <a:srgbClr val="667E92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97" name="Google Shape;7898;p76">
            <a:extLst>
              <a:ext uri="{FF2B5EF4-FFF2-40B4-BE49-F238E27FC236}">
                <a16:creationId xmlns:a16="http://schemas.microsoft.com/office/drawing/2014/main" id="{DA80366B-AADA-4E3E-90CC-4FA82EB0E3C6}"/>
              </a:ext>
            </a:extLst>
          </p:cNvPr>
          <p:cNvCxnSpPr/>
          <p:nvPr/>
        </p:nvCxnSpPr>
        <p:spPr>
          <a:xfrm flipV="1">
            <a:off x="9296333" y="3196518"/>
            <a:ext cx="0" cy="495585"/>
          </a:xfrm>
          <a:prstGeom prst="straightConnector1">
            <a:avLst/>
          </a:prstGeom>
          <a:noFill/>
          <a:ln w="9525" cap="flat" cmpd="sng">
            <a:solidFill>
              <a:srgbClr val="667E9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98" name="Google Shape;7899;p76">
            <a:extLst>
              <a:ext uri="{FF2B5EF4-FFF2-40B4-BE49-F238E27FC236}">
                <a16:creationId xmlns:a16="http://schemas.microsoft.com/office/drawing/2014/main" id="{07D6574F-F784-4D16-9522-009012544107}"/>
              </a:ext>
            </a:extLst>
          </p:cNvPr>
          <p:cNvSpPr/>
          <p:nvPr/>
        </p:nvSpPr>
        <p:spPr>
          <a:xfrm flipV="1">
            <a:off x="7968731" y="4006155"/>
            <a:ext cx="112856" cy="12812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014158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to 4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6" name="Slide do think-cell" r:id="rId6" imgW="270" imgH="270" progId="TCLayout.ActiveDocument.1">
                  <p:embed/>
                </p:oleObj>
              </mc:Choice>
              <mc:Fallback>
                <p:oleObj name="Slide do think-cell" r:id="rId6" imgW="270" imgH="270" progId="TCLayout.ActiveDocument.1">
                  <p:embed/>
                  <p:pic>
                    <p:nvPicPr>
                      <p:cNvPr id="49" name="Objeto 4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Retângulo 4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US" sz="16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47173" y="0"/>
            <a:ext cx="8719700" cy="540000"/>
          </a:xfrm>
        </p:spPr>
        <p:txBody>
          <a:bodyPr vert="horz" anchor="ctr">
            <a:noAutofit/>
          </a:bodyPr>
          <a:lstStyle/>
          <a:p>
            <a:r>
              <a:rPr lang="en-US" sz="1400" dirty="0">
                <a:latin typeface="Verdana" panose="020B0604030504040204" pitchFamily="34" charset="0"/>
              </a:rPr>
              <a:t>c. ¿</a:t>
            </a:r>
            <a:r>
              <a:rPr lang="en-US" sz="1400" dirty="0" err="1">
                <a:latin typeface="Verdana" panose="020B0604030504040204" pitchFamily="34" charset="0"/>
              </a:rPr>
              <a:t>Qué</a:t>
            </a:r>
            <a:r>
              <a:rPr lang="en-US" sz="1400" dirty="0">
                <a:latin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</a:rPr>
              <a:t>métodos</a:t>
            </a:r>
            <a:r>
              <a:rPr lang="en-US" sz="1400" dirty="0">
                <a:latin typeface="Verdana" panose="020B0604030504040204" pitchFamily="34" charset="0"/>
              </a:rPr>
              <a:t> o </a:t>
            </a:r>
            <a:r>
              <a:rPr lang="en-US" sz="1400" dirty="0" err="1">
                <a:latin typeface="Verdana" panose="020B0604030504040204" pitchFamily="34" charset="0"/>
              </a:rPr>
              <a:t>algoritmos</a:t>
            </a:r>
            <a:r>
              <a:rPr lang="en-US" sz="1400" dirty="0">
                <a:latin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</a:rPr>
              <a:t>utilizarías</a:t>
            </a:r>
            <a:r>
              <a:rPr lang="en-US" sz="1400" dirty="0">
                <a:latin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</a:rPr>
              <a:t>durante</a:t>
            </a:r>
            <a:r>
              <a:rPr lang="en-US" sz="1400" dirty="0">
                <a:latin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</a:rPr>
              <a:t>el</a:t>
            </a:r>
            <a:r>
              <a:rPr lang="en-US" sz="1400" dirty="0">
                <a:latin typeface="Verdana" panose="020B0604030504040204" pitchFamily="34" charset="0"/>
              </a:rPr>
              <a:t> Desarrollo de </a:t>
            </a:r>
            <a:r>
              <a:rPr lang="en-US" sz="1400" dirty="0" err="1">
                <a:latin typeface="Verdana" panose="020B0604030504040204" pitchFamily="34" charset="0"/>
              </a:rPr>
              <a:t>esa</a:t>
            </a:r>
            <a:r>
              <a:rPr lang="en-US" sz="1400" dirty="0">
                <a:latin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</a:rPr>
              <a:t>solución</a:t>
            </a:r>
            <a:r>
              <a:rPr lang="en-US" sz="1400" dirty="0">
                <a:latin typeface="Verdana" panose="020B0604030504040204" pitchFamily="34" charset="0"/>
              </a:rPr>
              <a:t>?</a:t>
            </a:r>
          </a:p>
        </p:txBody>
      </p:sp>
      <p:sp>
        <p:nvSpPr>
          <p:cNvPr id="52" name="Retângulo 51">
            <a:extLst>
              <a:ext uri="{FF2B5EF4-FFF2-40B4-BE49-F238E27FC236}">
                <a16:creationId xmlns:a16="http://schemas.microsoft.com/office/drawing/2014/main" id="{DF06125D-1833-4D50-A3C4-A16E0858C03F}"/>
              </a:ext>
            </a:extLst>
          </p:cNvPr>
          <p:cNvSpPr/>
          <p:nvPr/>
        </p:nvSpPr>
        <p:spPr>
          <a:xfrm>
            <a:off x="978818" y="998287"/>
            <a:ext cx="8221166" cy="520656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 cap="flat" cmpd="sng" algn="ctr">
            <a:solidFill>
              <a:srgbClr val="808080"/>
            </a:solidFill>
            <a:prstDash val="lgDash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53" name="CaixaDeTexto 52">
            <a:extLst>
              <a:ext uri="{FF2B5EF4-FFF2-40B4-BE49-F238E27FC236}">
                <a16:creationId xmlns:a16="http://schemas.microsoft.com/office/drawing/2014/main" id="{22C9B409-9B29-4EDE-B838-2E596B322BD5}"/>
              </a:ext>
            </a:extLst>
          </p:cNvPr>
          <p:cNvSpPr txBox="1"/>
          <p:nvPr/>
        </p:nvSpPr>
        <p:spPr>
          <a:xfrm>
            <a:off x="1221695" y="1208607"/>
            <a:ext cx="7399791" cy="332398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defRPr sz="1500" b="1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marL="285750" indent="-285750" algn="l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Una de las principals variables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identificada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es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el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número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de paletas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disponible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en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cada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máquina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y se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trata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de una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serie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temporal.</a:t>
            </a:r>
          </a:p>
          <a:p>
            <a:pPr marL="285750" indent="-285750" algn="l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Se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puede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modelar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y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encontrar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un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modelo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matemático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para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estimar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el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consumo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de paletas para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cada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máquina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según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sus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caracteristica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285750" indent="-285750" algn="l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Al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tratarse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de un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modelo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optimización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el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doste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y la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energía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se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podrían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minimizer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utilizando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metodo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optimización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dinámica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o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investigación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operacione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285750" indent="-285750" algn="l">
              <a:spcAft>
                <a:spcPts val="1200"/>
              </a:spcAft>
              <a:buFont typeface="Wingdings" panose="05000000000000000000" pitchFamily="2" charset="2"/>
              <a:buChar char="§"/>
            </a:pPr>
            <a:endParaRPr lang="en-US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l">
              <a:spcAft>
                <a:spcPts val="1200"/>
              </a:spcAft>
              <a:buFont typeface="Wingdings" panose="05000000000000000000" pitchFamily="2" charset="2"/>
              <a:buChar char="§"/>
            </a:pPr>
            <a:endParaRPr lang="en-US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l">
              <a:spcAft>
                <a:spcPts val="1200"/>
              </a:spcAft>
              <a:buFont typeface="Wingdings" panose="05000000000000000000" pitchFamily="2" charset="2"/>
              <a:buChar char="§"/>
            </a:pPr>
            <a:endParaRPr lang="en-US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l">
              <a:spcAft>
                <a:spcPts val="1200"/>
              </a:spcAft>
              <a:buFont typeface="Wingdings" panose="05000000000000000000" pitchFamily="2" charset="2"/>
              <a:buChar char="§"/>
            </a:pPr>
            <a:endParaRPr lang="en-US" b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889487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to 4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90" name="Slide do think-cell" r:id="rId6" imgW="270" imgH="270" progId="TCLayout.ActiveDocument.1">
                  <p:embed/>
                </p:oleObj>
              </mc:Choice>
              <mc:Fallback>
                <p:oleObj name="Slide do think-cell" r:id="rId6" imgW="270" imgH="270" progId="TCLayout.ActiveDocument.1">
                  <p:embed/>
                  <p:pic>
                    <p:nvPicPr>
                      <p:cNvPr id="49" name="Objeto 4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Retângulo 4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US" sz="16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47173" y="0"/>
            <a:ext cx="8719700" cy="540000"/>
          </a:xfrm>
        </p:spPr>
        <p:txBody>
          <a:bodyPr vert="horz" anchor="ctr">
            <a:noAutofit/>
          </a:bodyPr>
          <a:lstStyle/>
          <a:p>
            <a:r>
              <a:rPr lang="en-US" sz="1400" dirty="0">
                <a:latin typeface="Verdana" panose="020B0604030504040204" pitchFamily="34" charset="0"/>
              </a:rPr>
              <a:t>d. ¿</a:t>
            </a:r>
            <a:r>
              <a:rPr lang="en-US" sz="1400" dirty="0" err="1">
                <a:latin typeface="Verdana" panose="020B0604030504040204" pitchFamily="34" charset="0"/>
              </a:rPr>
              <a:t>Qué</a:t>
            </a:r>
            <a:r>
              <a:rPr lang="en-US" sz="1400" dirty="0">
                <a:latin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</a:rPr>
              <a:t>métricas</a:t>
            </a:r>
            <a:r>
              <a:rPr lang="en-US" sz="1400" dirty="0">
                <a:latin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</a:rPr>
              <a:t>evaluarías</a:t>
            </a:r>
            <a:r>
              <a:rPr lang="en-US" sz="1400" dirty="0">
                <a:latin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</a:rPr>
              <a:t>durante</a:t>
            </a:r>
            <a:r>
              <a:rPr lang="en-US" sz="1400" dirty="0">
                <a:latin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</a:rPr>
              <a:t>el</a:t>
            </a:r>
            <a:r>
              <a:rPr lang="en-US" sz="1400" dirty="0">
                <a:latin typeface="Verdana" panose="020B0604030504040204" pitchFamily="34" charset="0"/>
              </a:rPr>
              <a:t> Desarrollo de la </a:t>
            </a:r>
            <a:r>
              <a:rPr lang="en-US" sz="1400" dirty="0" err="1">
                <a:latin typeface="Verdana" panose="020B0604030504040204" pitchFamily="34" charset="0"/>
              </a:rPr>
              <a:t>solución</a:t>
            </a:r>
            <a:r>
              <a:rPr lang="en-US" sz="1400" dirty="0">
                <a:latin typeface="Verdana" panose="020B0604030504040204" pitchFamily="34" charset="0"/>
              </a:rPr>
              <a:t>?</a:t>
            </a:r>
          </a:p>
        </p:txBody>
      </p:sp>
      <p:sp>
        <p:nvSpPr>
          <p:cNvPr id="52" name="Retângulo 51">
            <a:extLst>
              <a:ext uri="{FF2B5EF4-FFF2-40B4-BE49-F238E27FC236}">
                <a16:creationId xmlns:a16="http://schemas.microsoft.com/office/drawing/2014/main" id="{DF06125D-1833-4D50-A3C4-A16E0858C03F}"/>
              </a:ext>
            </a:extLst>
          </p:cNvPr>
          <p:cNvSpPr/>
          <p:nvPr/>
        </p:nvSpPr>
        <p:spPr>
          <a:xfrm>
            <a:off x="978818" y="998287"/>
            <a:ext cx="8221166" cy="520656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 cap="flat" cmpd="sng" algn="ctr">
            <a:solidFill>
              <a:srgbClr val="808080"/>
            </a:solidFill>
            <a:prstDash val="lgDash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53" name="CaixaDeTexto 52">
            <a:extLst>
              <a:ext uri="{FF2B5EF4-FFF2-40B4-BE49-F238E27FC236}">
                <a16:creationId xmlns:a16="http://schemas.microsoft.com/office/drawing/2014/main" id="{22C9B409-9B29-4EDE-B838-2E596B322BD5}"/>
              </a:ext>
            </a:extLst>
          </p:cNvPr>
          <p:cNvSpPr txBox="1"/>
          <p:nvPr/>
        </p:nvSpPr>
        <p:spPr>
          <a:xfrm>
            <a:off x="1361654" y="1469864"/>
            <a:ext cx="7399791" cy="378565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defRPr sz="1500" b="1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algn="l">
              <a:spcAft>
                <a:spcPts val="1200"/>
              </a:spcAft>
            </a:pP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Se debe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hacer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seguimiento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a las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siguiente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variables:</a:t>
            </a:r>
          </a:p>
          <a:p>
            <a:pPr marL="285750" indent="-285750" algn="l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Los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indicadore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costo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transporte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y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energía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por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máquina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285750" indent="-285750" algn="l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El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número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de Paletas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disponible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y la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capacidad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total de la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máquina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285750" indent="-285750" algn="l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El consume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promedio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por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máquina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285750" indent="-285750" algn="l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La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calidad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de los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dato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285750" indent="-285750" algn="l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Las variables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meterológica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de las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ubicacione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de las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máquina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285750" indent="-285750" algn="l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El patron de consume de los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suscriptore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285750" indent="-285750" algn="l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Alerta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temprana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para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medir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el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desabastecimiento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de las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máquina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285750" indent="-285750" algn="l">
              <a:spcAft>
                <a:spcPts val="1200"/>
              </a:spcAft>
              <a:buFont typeface="Wingdings" panose="05000000000000000000" pitchFamily="2" charset="2"/>
              <a:buChar char="§"/>
            </a:pPr>
            <a:endParaRPr lang="en-US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l">
              <a:spcAft>
                <a:spcPts val="1200"/>
              </a:spcAft>
              <a:buFont typeface="Wingdings" panose="05000000000000000000" pitchFamily="2" charset="2"/>
              <a:buChar char="§"/>
            </a:pPr>
            <a:endParaRPr lang="en-US" b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475074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to 4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8" name="Slide do think-cell" r:id="rId6" imgW="270" imgH="270" progId="TCLayout.ActiveDocument.1">
                  <p:embed/>
                </p:oleObj>
              </mc:Choice>
              <mc:Fallback>
                <p:oleObj name="Slide do think-cell" r:id="rId6" imgW="270" imgH="270" progId="TCLayout.ActiveDocument.1">
                  <p:embed/>
                  <p:pic>
                    <p:nvPicPr>
                      <p:cNvPr id="49" name="Objeto 4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Retângulo 4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US" sz="16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47173" y="0"/>
            <a:ext cx="8719700" cy="540000"/>
          </a:xfrm>
        </p:spPr>
        <p:txBody>
          <a:bodyPr vert="horz" anchor="ctr">
            <a:noAutofit/>
          </a:bodyPr>
          <a:lstStyle/>
          <a:p>
            <a:r>
              <a:rPr lang="en-US" sz="1400" dirty="0">
                <a:latin typeface="Verdana" panose="020B0604030504040204" pitchFamily="34" charset="0"/>
              </a:rPr>
              <a:t>e. ¿</a:t>
            </a:r>
            <a:r>
              <a:rPr lang="en-US" sz="1400" dirty="0" err="1">
                <a:latin typeface="Verdana" panose="020B0604030504040204" pitchFamily="34" charset="0"/>
              </a:rPr>
              <a:t>Cómo</a:t>
            </a:r>
            <a:r>
              <a:rPr lang="en-US" sz="1400" dirty="0">
                <a:latin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</a:rPr>
              <a:t>te</a:t>
            </a:r>
            <a:r>
              <a:rPr lang="en-US" sz="1400" dirty="0">
                <a:latin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</a:rPr>
              <a:t>imaginas</a:t>
            </a:r>
            <a:r>
              <a:rPr lang="en-US" sz="1400" dirty="0">
                <a:latin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</a:rPr>
              <a:t>el</a:t>
            </a:r>
            <a:r>
              <a:rPr lang="en-US" sz="1400" dirty="0">
                <a:latin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</a:rPr>
              <a:t>despliegue</a:t>
            </a:r>
            <a:r>
              <a:rPr lang="en-US" sz="1400" dirty="0">
                <a:latin typeface="Verdana" panose="020B0604030504040204" pitchFamily="34" charset="0"/>
              </a:rPr>
              <a:t> y </a:t>
            </a:r>
            <a:r>
              <a:rPr lang="en-US" sz="1400" dirty="0" err="1">
                <a:latin typeface="Verdana" panose="020B0604030504040204" pitchFamily="34" charset="0"/>
              </a:rPr>
              <a:t>operación</a:t>
            </a:r>
            <a:r>
              <a:rPr lang="en-US" sz="1400" dirty="0">
                <a:latin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</a:rPr>
              <a:t>en</a:t>
            </a:r>
            <a:r>
              <a:rPr lang="en-US" sz="1400" dirty="0">
                <a:latin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</a:rPr>
              <a:t>producción</a:t>
            </a:r>
            <a:r>
              <a:rPr lang="en-US" sz="1400" dirty="0">
                <a:latin typeface="Verdana" panose="020B0604030504040204" pitchFamily="34" charset="0"/>
              </a:rPr>
              <a:t> de la </a:t>
            </a:r>
            <a:r>
              <a:rPr lang="en-US" sz="1400" dirty="0" err="1">
                <a:latin typeface="Verdana" panose="020B0604030504040204" pitchFamily="34" charset="0"/>
              </a:rPr>
              <a:t>solución</a:t>
            </a:r>
            <a:r>
              <a:rPr lang="en-US" sz="1400" dirty="0">
                <a:latin typeface="Verdana" panose="020B0604030504040204" pitchFamily="34" charset="0"/>
              </a:rPr>
              <a:t>?</a:t>
            </a:r>
          </a:p>
        </p:txBody>
      </p:sp>
      <p:sp>
        <p:nvSpPr>
          <p:cNvPr id="52" name="Retângulo 51">
            <a:extLst>
              <a:ext uri="{FF2B5EF4-FFF2-40B4-BE49-F238E27FC236}">
                <a16:creationId xmlns:a16="http://schemas.microsoft.com/office/drawing/2014/main" id="{DF06125D-1833-4D50-A3C4-A16E0858C03F}"/>
              </a:ext>
            </a:extLst>
          </p:cNvPr>
          <p:cNvSpPr/>
          <p:nvPr/>
        </p:nvSpPr>
        <p:spPr>
          <a:xfrm>
            <a:off x="978818" y="998287"/>
            <a:ext cx="8221166" cy="520656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 cap="flat" cmpd="sng" algn="ctr">
            <a:solidFill>
              <a:srgbClr val="808080"/>
            </a:solidFill>
            <a:prstDash val="lgDash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53" name="CaixaDeTexto 52">
            <a:extLst>
              <a:ext uri="{FF2B5EF4-FFF2-40B4-BE49-F238E27FC236}">
                <a16:creationId xmlns:a16="http://schemas.microsoft.com/office/drawing/2014/main" id="{22C9B409-9B29-4EDE-B838-2E596B322BD5}"/>
              </a:ext>
            </a:extLst>
          </p:cNvPr>
          <p:cNvSpPr txBox="1"/>
          <p:nvPr/>
        </p:nvSpPr>
        <p:spPr>
          <a:xfrm>
            <a:off x="1361654" y="1469864"/>
            <a:ext cx="7399791" cy="517064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defRPr sz="1500" b="1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marL="342900" indent="-342900" algn="l">
              <a:spcAft>
                <a:spcPts val="1200"/>
              </a:spcAft>
              <a:buFont typeface="+mj-lt"/>
              <a:buAutoNum type="arabicPeriod"/>
            </a:pP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Empezamo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con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identificando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la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situación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actual de La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Michoacana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342900" indent="-342900" algn="l">
              <a:spcAft>
                <a:spcPts val="1200"/>
              </a:spcAft>
              <a:buFont typeface="+mj-lt"/>
              <a:buAutoNum type="arabicPeriod"/>
            </a:pP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Identificamo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los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objetivo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y las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actividade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342900" indent="-342900" algn="l">
              <a:spcAft>
                <a:spcPts val="1200"/>
              </a:spcAft>
              <a:buFont typeface="+mj-lt"/>
              <a:buAutoNum type="arabicPeriod"/>
            </a:pP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Definimo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los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recurso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, roles y los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presupuesto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necesario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342900" indent="-342900" algn="l">
              <a:spcAft>
                <a:spcPts val="1200"/>
              </a:spcAft>
              <a:buFont typeface="+mj-lt"/>
              <a:buAutoNum type="arabicPeriod"/>
            </a:pP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Elaboramo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el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cronograma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reunione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y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entregable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con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el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cliente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342900" indent="-342900" algn="l">
              <a:spcAft>
                <a:spcPts val="1200"/>
              </a:spcAft>
              <a:buFont typeface="+mj-lt"/>
              <a:buAutoNum type="arabicPeriod"/>
            </a:pP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El feedback del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cliente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en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todo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momento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es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importante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para no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caer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en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retrabajo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342900" indent="-342900" algn="l">
              <a:spcAft>
                <a:spcPts val="1200"/>
              </a:spcAft>
              <a:buFont typeface="+mj-lt"/>
              <a:buAutoNum type="arabicPeriod"/>
            </a:pP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Por la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naturaleza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del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problema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los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recurso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que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serán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necesario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serán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800100" lvl="1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Gerente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de Proyecto</a:t>
            </a:r>
          </a:p>
          <a:p>
            <a:pPr marL="800100" lvl="1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Analista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Datos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800100" lvl="1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Ingeniero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Datos</a:t>
            </a:r>
            <a:endParaRPr lang="en-US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800100" lvl="1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Desarrolladores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>
              <a:spcAft>
                <a:spcPts val="1200"/>
              </a:spcAft>
            </a:pPr>
            <a:endParaRPr lang="en-US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l">
              <a:spcAft>
                <a:spcPts val="1200"/>
              </a:spcAft>
              <a:buFont typeface="Wingdings" panose="05000000000000000000" pitchFamily="2" charset="2"/>
              <a:buChar char="§"/>
            </a:pPr>
            <a:endParaRPr lang="en-US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l">
              <a:spcAft>
                <a:spcPts val="1200"/>
              </a:spcAft>
              <a:buFont typeface="Wingdings" panose="05000000000000000000" pitchFamily="2" charset="2"/>
              <a:buChar char="§"/>
            </a:pPr>
            <a:endParaRPr lang="en-US" b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34120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5E6114B-2256-4A4A-99D7-70EE121742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/>
              <a:t>Nuestra meta es implementar soluciones para digitalizar el control de costos</a:t>
            </a:r>
            <a:endParaRPr lang="es-PE" dirty="0"/>
          </a:p>
        </p:txBody>
      </p:sp>
      <p:sp>
        <p:nvSpPr>
          <p:cNvPr id="4" name="CaixaDeTexto 32">
            <a:extLst>
              <a:ext uri="{FF2B5EF4-FFF2-40B4-BE49-F238E27FC236}">
                <a16:creationId xmlns:a16="http://schemas.microsoft.com/office/drawing/2014/main" id="{2A2BB0FA-BAAD-46CE-9848-AB55122B8964}"/>
              </a:ext>
            </a:extLst>
          </p:cNvPr>
          <p:cNvSpPr txBox="1"/>
          <p:nvPr/>
        </p:nvSpPr>
        <p:spPr>
          <a:xfrm>
            <a:off x="860084" y="730949"/>
            <a:ext cx="28769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srgbClr val="FF380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oma de </a:t>
            </a:r>
            <a:r>
              <a:rPr lang="en-US" b="1" dirty="0" err="1">
                <a:solidFill>
                  <a:srgbClr val="FF380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cisiones</a:t>
            </a:r>
            <a:endParaRPr lang="en-US" b="1" dirty="0">
              <a:solidFill>
                <a:srgbClr val="FF380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ctr"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(La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Michoacana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)</a:t>
            </a:r>
            <a:endParaRPr kumimoji="0" lang="pt-B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5" name="CaixaDeTexto 32">
            <a:extLst>
              <a:ext uri="{FF2B5EF4-FFF2-40B4-BE49-F238E27FC236}">
                <a16:creationId xmlns:a16="http://schemas.microsoft.com/office/drawing/2014/main" id="{016E6463-698A-4DC2-986A-53E6942356F4}"/>
              </a:ext>
            </a:extLst>
          </p:cNvPr>
          <p:cNvSpPr txBox="1"/>
          <p:nvPr/>
        </p:nvSpPr>
        <p:spPr>
          <a:xfrm>
            <a:off x="4725777" y="699687"/>
            <a:ext cx="287690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 err="1">
                <a:solidFill>
                  <a:srgbClr val="FF380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utomatización</a:t>
            </a:r>
            <a:r>
              <a:rPr lang="en-US" b="1" dirty="0">
                <a:solidFill>
                  <a:srgbClr val="FF380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de </a:t>
            </a:r>
            <a:r>
              <a:rPr lang="en-US" b="1" dirty="0" err="1">
                <a:solidFill>
                  <a:srgbClr val="FF380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portes</a:t>
            </a:r>
            <a:endParaRPr lang="en-US" b="1" dirty="0">
              <a:solidFill>
                <a:srgbClr val="FF380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ctr"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(OPI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Analitycs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)</a:t>
            </a:r>
            <a:endParaRPr kumimoji="0" lang="pt-B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6" name="CaixaDeTexto 32">
            <a:extLst>
              <a:ext uri="{FF2B5EF4-FFF2-40B4-BE49-F238E27FC236}">
                <a16:creationId xmlns:a16="http://schemas.microsoft.com/office/drawing/2014/main" id="{8BF12495-FCFF-4B07-BFDF-64C1DECA9F85}"/>
              </a:ext>
            </a:extLst>
          </p:cNvPr>
          <p:cNvSpPr txBox="1"/>
          <p:nvPr/>
        </p:nvSpPr>
        <p:spPr>
          <a:xfrm>
            <a:off x="8906233" y="715393"/>
            <a:ext cx="287690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 err="1">
                <a:solidFill>
                  <a:srgbClr val="FF380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igitalización</a:t>
            </a:r>
            <a:r>
              <a:rPr lang="en-US" b="1" dirty="0">
                <a:solidFill>
                  <a:srgbClr val="FF380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(OPI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Analitycs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y La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Michoacana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)</a:t>
            </a:r>
            <a:endParaRPr kumimoji="0" lang="pt-B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id="{71DC61FC-EE91-4E60-ACA5-FB659A2256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52061" y="2382169"/>
            <a:ext cx="2224333" cy="2119942"/>
          </a:xfrm>
          <a:prstGeom prst="rect">
            <a:avLst/>
          </a:prstGeom>
        </p:spPr>
      </p:pic>
      <p:pic>
        <p:nvPicPr>
          <p:cNvPr id="17" name="Imagen 16">
            <a:extLst>
              <a:ext uri="{FF2B5EF4-FFF2-40B4-BE49-F238E27FC236}">
                <a16:creationId xmlns:a16="http://schemas.microsoft.com/office/drawing/2014/main" id="{47139BC2-22B5-4661-BCBE-EF87382707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68266" y="2382169"/>
            <a:ext cx="1860541" cy="1852271"/>
          </a:xfrm>
          <a:prstGeom prst="rect">
            <a:avLst/>
          </a:prstGeom>
        </p:spPr>
      </p:pic>
      <p:pic>
        <p:nvPicPr>
          <p:cNvPr id="19" name="Imagen 18">
            <a:extLst>
              <a:ext uri="{FF2B5EF4-FFF2-40B4-BE49-F238E27FC236}">
                <a16:creationId xmlns:a16="http://schemas.microsoft.com/office/drawing/2014/main" id="{AF0296B8-11A1-48A2-B9EA-E53E5C2202B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06233" y="2214562"/>
            <a:ext cx="2524125" cy="2428875"/>
          </a:xfrm>
          <a:prstGeom prst="rect">
            <a:avLst/>
          </a:prstGeom>
        </p:spPr>
      </p:pic>
      <p:cxnSp>
        <p:nvCxnSpPr>
          <p:cNvPr id="21" name="Conector recto 20">
            <a:extLst>
              <a:ext uri="{FF2B5EF4-FFF2-40B4-BE49-F238E27FC236}">
                <a16:creationId xmlns:a16="http://schemas.microsoft.com/office/drawing/2014/main" id="{275028D6-34D2-4B67-91C4-01CD54CE8413}"/>
              </a:ext>
            </a:extLst>
          </p:cNvPr>
          <p:cNvCxnSpPr/>
          <p:nvPr/>
        </p:nvCxnSpPr>
        <p:spPr>
          <a:xfrm>
            <a:off x="4270549" y="793820"/>
            <a:ext cx="0" cy="4712677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 recto 21">
            <a:extLst>
              <a:ext uri="{FF2B5EF4-FFF2-40B4-BE49-F238E27FC236}">
                <a16:creationId xmlns:a16="http://schemas.microsoft.com/office/drawing/2014/main" id="{A3E68E7C-0A81-4A61-B3D6-DCDAABE0B733}"/>
              </a:ext>
            </a:extLst>
          </p:cNvPr>
          <p:cNvCxnSpPr/>
          <p:nvPr/>
        </p:nvCxnSpPr>
        <p:spPr>
          <a:xfrm>
            <a:off x="8311662" y="793820"/>
            <a:ext cx="0" cy="4712677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117551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to 4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62" name="Slide do think-cell" r:id="rId6" imgW="270" imgH="270" progId="TCLayout.ActiveDocument.1">
                  <p:embed/>
                </p:oleObj>
              </mc:Choice>
              <mc:Fallback>
                <p:oleObj name="Slide do think-cell" r:id="rId6" imgW="270" imgH="270" progId="TCLayout.ActiveDocument.1">
                  <p:embed/>
                  <p:pic>
                    <p:nvPicPr>
                      <p:cNvPr id="49" name="Objeto 4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Retângulo 4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US" sz="16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47173" y="0"/>
            <a:ext cx="8719700" cy="540000"/>
          </a:xfrm>
        </p:spPr>
        <p:txBody>
          <a:bodyPr vert="horz" anchor="ctr">
            <a:noAutofit/>
          </a:bodyPr>
          <a:lstStyle/>
          <a:p>
            <a:r>
              <a:rPr lang="en-US" sz="1400" dirty="0">
                <a:latin typeface="Verdana" panose="020B0604030504040204" pitchFamily="34" charset="0"/>
              </a:rPr>
              <a:t>e. ¿</a:t>
            </a:r>
            <a:r>
              <a:rPr lang="en-US" sz="1400" dirty="0" err="1">
                <a:latin typeface="Verdana" panose="020B0604030504040204" pitchFamily="34" charset="0"/>
              </a:rPr>
              <a:t>Cómo</a:t>
            </a:r>
            <a:r>
              <a:rPr lang="en-US" sz="1400" dirty="0">
                <a:latin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</a:rPr>
              <a:t>evaluarías</a:t>
            </a:r>
            <a:r>
              <a:rPr lang="en-US" sz="1400" dirty="0">
                <a:latin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</a:rPr>
              <a:t>si</a:t>
            </a:r>
            <a:r>
              <a:rPr lang="en-US" sz="1400" dirty="0">
                <a:latin typeface="Verdana" panose="020B0604030504040204" pitchFamily="34" charset="0"/>
              </a:rPr>
              <a:t> la </a:t>
            </a:r>
            <a:r>
              <a:rPr lang="en-US" sz="1400" dirty="0" err="1">
                <a:latin typeface="Verdana" panose="020B0604030504040204" pitchFamily="34" charset="0"/>
              </a:rPr>
              <a:t>solución</a:t>
            </a:r>
            <a:r>
              <a:rPr lang="en-US" sz="1400" dirty="0">
                <a:latin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</a:rPr>
              <a:t>tiene</a:t>
            </a:r>
            <a:r>
              <a:rPr lang="en-US" sz="1400" dirty="0">
                <a:latin typeface="Verdana" panose="020B0604030504040204" pitchFamily="34" charset="0"/>
              </a:rPr>
              <a:t> un </a:t>
            </a:r>
            <a:r>
              <a:rPr lang="en-US" sz="1400" dirty="0" err="1">
                <a:latin typeface="Verdana" panose="020B0604030504040204" pitchFamily="34" charset="0"/>
              </a:rPr>
              <a:t>impacto</a:t>
            </a:r>
            <a:r>
              <a:rPr lang="en-US" sz="1400" dirty="0">
                <a:latin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</a:rPr>
              <a:t>positivo</a:t>
            </a:r>
            <a:r>
              <a:rPr lang="en-US" sz="1400" dirty="0">
                <a:latin typeface="Verdana" panose="020B0604030504040204" pitchFamily="34" charset="0"/>
              </a:rPr>
              <a:t> y </a:t>
            </a:r>
            <a:r>
              <a:rPr lang="en-US" sz="1400" dirty="0" err="1">
                <a:latin typeface="Verdana" panose="020B0604030504040204" pitchFamily="34" charset="0"/>
              </a:rPr>
              <a:t>fue</a:t>
            </a:r>
            <a:r>
              <a:rPr lang="en-US" sz="1400" dirty="0">
                <a:latin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</a:rPr>
              <a:t>exitosa</a:t>
            </a:r>
            <a:r>
              <a:rPr lang="en-US" sz="1400" dirty="0">
                <a:latin typeface="Verdana" panose="020B0604030504040204" pitchFamily="34" charset="0"/>
              </a:rPr>
              <a:t>?</a:t>
            </a:r>
          </a:p>
        </p:txBody>
      </p:sp>
      <p:sp>
        <p:nvSpPr>
          <p:cNvPr id="52" name="Retângulo 51">
            <a:extLst>
              <a:ext uri="{FF2B5EF4-FFF2-40B4-BE49-F238E27FC236}">
                <a16:creationId xmlns:a16="http://schemas.microsoft.com/office/drawing/2014/main" id="{DF06125D-1833-4D50-A3C4-A16E0858C03F}"/>
              </a:ext>
            </a:extLst>
          </p:cNvPr>
          <p:cNvSpPr/>
          <p:nvPr/>
        </p:nvSpPr>
        <p:spPr>
          <a:xfrm>
            <a:off x="978818" y="998287"/>
            <a:ext cx="8221166" cy="520656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 cap="flat" cmpd="sng" algn="ctr">
            <a:solidFill>
              <a:srgbClr val="808080"/>
            </a:solidFill>
            <a:prstDash val="lgDash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53" name="CaixaDeTexto 52">
            <a:extLst>
              <a:ext uri="{FF2B5EF4-FFF2-40B4-BE49-F238E27FC236}">
                <a16:creationId xmlns:a16="http://schemas.microsoft.com/office/drawing/2014/main" id="{22C9B409-9B29-4EDE-B838-2E596B322BD5}"/>
              </a:ext>
            </a:extLst>
          </p:cNvPr>
          <p:cNvSpPr txBox="1"/>
          <p:nvPr/>
        </p:nvSpPr>
        <p:spPr>
          <a:xfrm>
            <a:off x="1361654" y="1469864"/>
            <a:ext cx="7399791" cy="30931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defRPr sz="1500" b="1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marL="285750" indent="-285750" algn="l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Una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vez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que se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construyeron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los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modelo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y los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indicadore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es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importante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hacer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seguimiento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a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esto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285750" indent="-285750" algn="l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Se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puede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establecer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meta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para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cada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indicador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285750" indent="-285750" algn="l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El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problema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plantea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una meta principal,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el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desabastecimiento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día/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máquina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menor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al 2%.</a:t>
            </a:r>
          </a:p>
          <a:p>
            <a:pPr marL="285750" indent="-285750" algn="l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En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el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día a día se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deben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hacer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los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ajuste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y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mejora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necesaria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para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mantener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 los </a:t>
            </a:r>
            <a:r>
              <a:rPr lang="en-US" b="0" dirty="0" err="1">
                <a:latin typeface="Calibri" panose="020F0502020204030204" pitchFamily="34" charset="0"/>
                <a:cs typeface="Calibri" panose="020F0502020204030204" pitchFamily="34" charset="0"/>
              </a:rPr>
              <a:t>objetivos</a:t>
            </a:r>
            <a:r>
              <a:rPr lang="en-US" b="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285750" indent="-285750" algn="l">
              <a:spcAft>
                <a:spcPts val="1200"/>
              </a:spcAft>
              <a:buFont typeface="Wingdings" panose="05000000000000000000" pitchFamily="2" charset="2"/>
              <a:buChar char="§"/>
            </a:pPr>
            <a:endParaRPr lang="en-US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l">
              <a:spcAft>
                <a:spcPts val="1200"/>
              </a:spcAft>
              <a:buFont typeface="Wingdings" panose="05000000000000000000" pitchFamily="2" charset="2"/>
              <a:buChar char="§"/>
            </a:pPr>
            <a:endParaRPr lang="en-US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l">
              <a:spcAft>
                <a:spcPts val="1200"/>
              </a:spcAft>
              <a:buFont typeface="Wingdings" panose="05000000000000000000" pitchFamily="2" charset="2"/>
              <a:buChar char="§"/>
            </a:pPr>
            <a:endParaRPr lang="en-US" b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21833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6" name="Slide do think-cell" r:id="rId5" imgW="471" imgH="472" progId="TCLayout.ActiveDocument.1">
                  <p:embed/>
                </p:oleObj>
              </mc:Choice>
              <mc:Fallback>
                <p:oleObj name="Slide do think-cell" r:id="rId5" imgW="471" imgH="472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m 4" descr="Uma imagem contendo relógio, placar&#10;&#10;Descrição gerada automaticamente">
            <a:extLst>
              <a:ext uri="{FF2B5EF4-FFF2-40B4-BE49-F238E27FC236}">
                <a16:creationId xmlns:a16="http://schemas.microsoft.com/office/drawing/2014/main" id="{90DB585C-2C65-4B29-8439-7441CC05279D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592" r="93229" b="37408"/>
          <a:stretch/>
        </p:blipFill>
        <p:spPr>
          <a:xfrm>
            <a:off x="0" y="1892300"/>
            <a:ext cx="494270" cy="2400300"/>
          </a:xfrm>
          <a:prstGeom prst="rect">
            <a:avLst/>
          </a:prstGeom>
        </p:spPr>
      </p:pic>
      <p:pic>
        <p:nvPicPr>
          <p:cNvPr id="25" name="Imagem 24" descr="Uma imagem contendo relógio, placar&#10;&#10;Descrição gerada automaticamente">
            <a:extLst>
              <a:ext uri="{FF2B5EF4-FFF2-40B4-BE49-F238E27FC236}">
                <a16:creationId xmlns:a16="http://schemas.microsoft.com/office/drawing/2014/main" id="{7F3A5663-6668-4DDA-B3E9-1F68076D0BE2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941" t="74629" r="3329" b="1"/>
          <a:stretch/>
        </p:blipFill>
        <p:spPr>
          <a:xfrm rot="16200000">
            <a:off x="10066121" y="5242571"/>
            <a:ext cx="2527300" cy="1739898"/>
          </a:xfrm>
          <a:prstGeom prst="rect">
            <a:avLst/>
          </a:prstGeom>
        </p:spPr>
      </p:pic>
      <p:sp>
        <p:nvSpPr>
          <p:cNvPr id="32" name="CaixaDeTexto 31">
            <a:extLst>
              <a:ext uri="{FF2B5EF4-FFF2-40B4-BE49-F238E27FC236}">
                <a16:creationId xmlns:a16="http://schemas.microsoft.com/office/drawing/2014/main" id="{A9FCFD32-AFE4-4B92-A520-1AC75A7850CA}"/>
              </a:ext>
            </a:extLst>
          </p:cNvPr>
          <p:cNvSpPr txBox="1"/>
          <p:nvPr/>
        </p:nvSpPr>
        <p:spPr>
          <a:xfrm>
            <a:off x="809273" y="370929"/>
            <a:ext cx="29059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600" b="1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Contenido</a:t>
            </a:r>
            <a:endParaRPr kumimoji="0" lang="pt-BR" sz="4800" b="1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33" name="CaixaDeTexto 32">
            <a:extLst>
              <a:ext uri="{FF2B5EF4-FFF2-40B4-BE49-F238E27FC236}">
                <a16:creationId xmlns:a16="http://schemas.microsoft.com/office/drawing/2014/main" id="{AE786C73-13C9-4D44-8598-15C2FBDF2A2B}"/>
              </a:ext>
            </a:extLst>
          </p:cNvPr>
          <p:cNvSpPr txBox="1"/>
          <p:nvPr/>
        </p:nvSpPr>
        <p:spPr>
          <a:xfrm>
            <a:off x="809271" y="1666960"/>
            <a:ext cx="10523481" cy="1109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380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1 –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380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Secci</a:t>
            </a:r>
            <a:r>
              <a:rPr lang="en-US" b="1" dirty="0" err="1">
                <a:solidFill>
                  <a:srgbClr val="FF380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ón</a:t>
            </a:r>
            <a:r>
              <a:rPr lang="en-US" b="1" dirty="0">
                <a:solidFill>
                  <a:srgbClr val="FF380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A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380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>
              <a:lnSpc>
                <a:spcPct val="200000"/>
              </a:lnSpc>
              <a:defRPr/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</a:rPr>
              <a:t>2 – </a:t>
            </a:r>
            <a:r>
              <a:rPr lang="en-US" b="1" dirty="0" err="1">
                <a:latin typeface="Verdana" panose="020B0604030504040204" pitchFamily="34" charset="0"/>
                <a:ea typeface="Verdana" panose="020B0604030504040204" pitchFamily="34" charset="0"/>
              </a:rPr>
              <a:t>Sección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</a:rPr>
              <a:t> B</a:t>
            </a:r>
          </a:p>
        </p:txBody>
      </p:sp>
      <p:pic>
        <p:nvPicPr>
          <p:cNvPr id="8" name="Imagem 7" descr="Uma imagem contendo relógio, placar&#10;&#10;Descrição gerada automaticamente">
            <a:extLst>
              <a:ext uri="{FF2B5EF4-FFF2-40B4-BE49-F238E27FC236}">
                <a16:creationId xmlns:a16="http://schemas.microsoft.com/office/drawing/2014/main" id="{50E85C8D-395D-4AAF-9737-CE64CEFD5EAE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5" r="61978" b="91111"/>
          <a:stretch/>
        </p:blipFill>
        <p:spPr>
          <a:xfrm>
            <a:off x="406400" y="0"/>
            <a:ext cx="4229100" cy="444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4903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D514001-5789-40DC-A95F-018579C509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" sz="1800" dirty="0"/>
              <a:t>¿Cómo podemos medir el impacto?</a:t>
            </a:r>
            <a:endParaRPr lang="es-PE" sz="1800" dirty="0"/>
          </a:p>
        </p:txBody>
      </p:sp>
      <p:sp>
        <p:nvSpPr>
          <p:cNvPr id="4" name="CaixaDeTexto 32">
            <a:extLst>
              <a:ext uri="{FF2B5EF4-FFF2-40B4-BE49-F238E27FC236}">
                <a16:creationId xmlns:a16="http://schemas.microsoft.com/office/drawing/2014/main" id="{A27CECCA-6E56-4893-9714-BAE814DCF938}"/>
              </a:ext>
            </a:extLst>
          </p:cNvPr>
          <p:cNvSpPr txBox="1"/>
          <p:nvPr/>
        </p:nvSpPr>
        <p:spPr>
          <a:xfrm>
            <a:off x="4968063" y="1644263"/>
            <a:ext cx="13604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380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Impacto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380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5" name="CaixaDeTexto 32">
            <a:extLst>
              <a:ext uri="{FF2B5EF4-FFF2-40B4-BE49-F238E27FC236}">
                <a16:creationId xmlns:a16="http://schemas.microsoft.com/office/drawing/2014/main" id="{AE52D277-6362-4DEC-8C31-D6EFC9D94FF8}"/>
              </a:ext>
            </a:extLst>
          </p:cNvPr>
          <p:cNvSpPr txBox="1"/>
          <p:nvPr/>
        </p:nvSpPr>
        <p:spPr>
          <a:xfrm>
            <a:off x="4877817" y="3482718"/>
            <a:ext cx="37913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380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Factibilidad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380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6" name="CaixaDeTexto 32">
            <a:extLst>
              <a:ext uri="{FF2B5EF4-FFF2-40B4-BE49-F238E27FC236}">
                <a16:creationId xmlns:a16="http://schemas.microsoft.com/office/drawing/2014/main" id="{072B346C-4ED5-4D72-B685-4B9667A08BED}"/>
              </a:ext>
            </a:extLst>
          </p:cNvPr>
          <p:cNvSpPr txBox="1"/>
          <p:nvPr/>
        </p:nvSpPr>
        <p:spPr>
          <a:xfrm>
            <a:off x="5127650" y="5024017"/>
            <a:ext cx="1550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380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Soporte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380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grpSp>
        <p:nvGrpSpPr>
          <p:cNvPr id="7" name="Google Shape;9098;p79">
            <a:extLst>
              <a:ext uri="{FF2B5EF4-FFF2-40B4-BE49-F238E27FC236}">
                <a16:creationId xmlns:a16="http://schemas.microsoft.com/office/drawing/2014/main" id="{B71799E6-C59E-433B-BC11-BC1F1796EC91}"/>
              </a:ext>
            </a:extLst>
          </p:cNvPr>
          <p:cNvGrpSpPr/>
          <p:nvPr/>
        </p:nvGrpSpPr>
        <p:grpSpPr>
          <a:xfrm>
            <a:off x="4405451" y="682875"/>
            <a:ext cx="5977195" cy="5315599"/>
            <a:chOff x="7287122" y="1447520"/>
            <a:chExt cx="1219413" cy="769503"/>
          </a:xfrm>
        </p:grpSpPr>
        <p:grpSp>
          <p:nvGrpSpPr>
            <p:cNvPr id="8" name="Google Shape;9099;p79">
              <a:extLst>
                <a:ext uri="{FF2B5EF4-FFF2-40B4-BE49-F238E27FC236}">
                  <a16:creationId xmlns:a16="http://schemas.microsoft.com/office/drawing/2014/main" id="{F4FE350B-D0EC-40E3-8905-0F3E495144C2}"/>
                </a:ext>
              </a:extLst>
            </p:cNvPr>
            <p:cNvGrpSpPr/>
            <p:nvPr/>
          </p:nvGrpSpPr>
          <p:grpSpPr>
            <a:xfrm>
              <a:off x="7287122" y="1969723"/>
              <a:ext cx="1219413" cy="247300"/>
              <a:chOff x="7287122" y="1969723"/>
              <a:chExt cx="1219413" cy="247300"/>
            </a:xfrm>
          </p:grpSpPr>
          <p:sp>
            <p:nvSpPr>
              <p:cNvPr id="24" name="Google Shape;9100;p79">
                <a:extLst>
                  <a:ext uri="{FF2B5EF4-FFF2-40B4-BE49-F238E27FC236}">
                    <a16:creationId xmlns:a16="http://schemas.microsoft.com/office/drawing/2014/main" id="{CC343810-DE53-455A-A8A7-C255A7F036E6}"/>
                  </a:ext>
                </a:extLst>
              </p:cNvPr>
              <p:cNvSpPr/>
              <p:nvPr/>
            </p:nvSpPr>
            <p:spPr>
              <a:xfrm flipH="1">
                <a:off x="8366247" y="1969723"/>
                <a:ext cx="140288" cy="247300"/>
              </a:xfrm>
              <a:custGeom>
                <a:avLst/>
                <a:gdLst/>
                <a:ahLst/>
                <a:cxnLst/>
                <a:rect l="l" t="t" r="r" b="b"/>
                <a:pathLst>
                  <a:path w="14992" h="26428" extrusionOk="0">
                    <a:moveTo>
                      <a:pt x="31" y="0"/>
                    </a:moveTo>
                    <a:cubicBezTo>
                      <a:pt x="25" y="0"/>
                      <a:pt x="19" y="0"/>
                      <a:pt x="13" y="0"/>
                    </a:cubicBezTo>
                    <a:lnTo>
                      <a:pt x="0" y="0"/>
                    </a:lnTo>
                    <a:lnTo>
                      <a:pt x="0" y="26407"/>
                    </a:lnTo>
                    <a:lnTo>
                      <a:pt x="13" y="26427"/>
                    </a:lnTo>
                    <a:lnTo>
                      <a:pt x="14992" y="1860"/>
                    </a:lnTo>
                    <a:cubicBezTo>
                      <a:pt x="10391" y="663"/>
                      <a:pt x="5335" y="0"/>
                      <a:pt x="31" y="0"/>
                    </a:cubicBezTo>
                    <a:close/>
                  </a:path>
                </a:pathLst>
              </a:custGeom>
              <a:noFill/>
              <a:ln w="34925" cap="flat" cmpd="sng">
                <a:solidFill>
                  <a:srgbClr val="CFD9E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25" name="Google Shape;9101;p79">
                <a:extLst>
                  <a:ext uri="{FF2B5EF4-FFF2-40B4-BE49-F238E27FC236}">
                    <a16:creationId xmlns:a16="http://schemas.microsoft.com/office/drawing/2014/main" id="{64A665A5-DF53-4043-AF28-E014BC79DE1D}"/>
                  </a:ext>
                </a:extLst>
              </p:cNvPr>
              <p:cNvGrpSpPr/>
              <p:nvPr/>
            </p:nvGrpSpPr>
            <p:grpSpPr>
              <a:xfrm>
                <a:off x="7287122" y="2063892"/>
                <a:ext cx="1151753" cy="73428"/>
                <a:chOff x="7287122" y="2063892"/>
                <a:chExt cx="1151753" cy="73428"/>
              </a:xfrm>
            </p:grpSpPr>
            <p:sp>
              <p:nvSpPr>
                <p:cNvPr id="26" name="Google Shape;9102;p79">
                  <a:extLst>
                    <a:ext uri="{FF2B5EF4-FFF2-40B4-BE49-F238E27FC236}">
                      <a16:creationId xmlns:a16="http://schemas.microsoft.com/office/drawing/2014/main" id="{3FB1BFC1-BD3C-4319-BD86-4076C169D0AA}"/>
                    </a:ext>
                  </a:extLst>
                </p:cNvPr>
                <p:cNvSpPr/>
                <p:nvPr/>
              </p:nvSpPr>
              <p:spPr>
                <a:xfrm flipH="1">
                  <a:off x="7287122" y="2063892"/>
                  <a:ext cx="507103" cy="734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124" h="7847" extrusionOk="0">
                      <a:moveTo>
                        <a:pt x="0" y="1"/>
                      </a:moveTo>
                      <a:lnTo>
                        <a:pt x="0" y="7847"/>
                      </a:lnTo>
                      <a:lnTo>
                        <a:pt x="35123" y="7847"/>
                      </a:lnTo>
                      <a:lnTo>
                        <a:pt x="35123" y="1"/>
                      </a:lnTo>
                      <a:close/>
                    </a:path>
                  </a:pathLst>
                </a:custGeom>
                <a:noFill/>
                <a:ln w="34925" cap="flat" cmpd="sng">
                  <a:solidFill>
                    <a:srgbClr val="CFD9E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27" name="Google Shape;9103;p79">
                  <a:extLst>
                    <a:ext uri="{FF2B5EF4-FFF2-40B4-BE49-F238E27FC236}">
                      <a16:creationId xmlns:a16="http://schemas.microsoft.com/office/drawing/2014/main" id="{FF965FB2-0C5F-4120-AB56-E89AA80EA61E}"/>
                    </a:ext>
                  </a:extLst>
                </p:cNvPr>
                <p:cNvCxnSpPr/>
                <p:nvPr/>
              </p:nvCxnSpPr>
              <p:spPr>
                <a:xfrm rot="10800000">
                  <a:off x="7818475" y="2100600"/>
                  <a:ext cx="620400" cy="0"/>
                </a:xfrm>
                <a:prstGeom prst="straightConnector1">
                  <a:avLst/>
                </a:prstGeom>
                <a:noFill/>
                <a:ln w="34925" cap="flat" cmpd="sng">
                  <a:solidFill>
                    <a:srgbClr val="CFD9E0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9" name="Google Shape;9104;p79">
              <a:extLst>
                <a:ext uri="{FF2B5EF4-FFF2-40B4-BE49-F238E27FC236}">
                  <a16:creationId xmlns:a16="http://schemas.microsoft.com/office/drawing/2014/main" id="{FF9EAA75-71AC-4D65-9A21-37B460BCEB4F}"/>
                </a:ext>
              </a:extLst>
            </p:cNvPr>
            <p:cNvGrpSpPr/>
            <p:nvPr/>
          </p:nvGrpSpPr>
          <p:grpSpPr>
            <a:xfrm>
              <a:off x="7287122" y="1712201"/>
              <a:ext cx="1219403" cy="246767"/>
              <a:chOff x="7287122" y="1712201"/>
              <a:chExt cx="1219403" cy="246767"/>
            </a:xfrm>
          </p:grpSpPr>
          <p:sp>
            <p:nvSpPr>
              <p:cNvPr id="20" name="Google Shape;9105;p79">
                <a:extLst>
                  <a:ext uri="{FF2B5EF4-FFF2-40B4-BE49-F238E27FC236}">
                    <a16:creationId xmlns:a16="http://schemas.microsoft.com/office/drawing/2014/main" id="{0957B8A1-2632-4607-AF6C-2A7807764E29}"/>
                  </a:ext>
                </a:extLst>
              </p:cNvPr>
              <p:cNvSpPr/>
              <p:nvPr/>
            </p:nvSpPr>
            <p:spPr>
              <a:xfrm flipH="1">
                <a:off x="8226249" y="1712201"/>
                <a:ext cx="280276" cy="246767"/>
              </a:xfrm>
              <a:custGeom>
                <a:avLst/>
                <a:gdLst/>
                <a:ahLst/>
                <a:cxnLst/>
                <a:rect l="l" t="t" r="r" b="b"/>
                <a:pathLst>
                  <a:path w="29952" h="26371" extrusionOk="0">
                    <a:moveTo>
                      <a:pt x="1" y="0"/>
                    </a:moveTo>
                    <a:lnTo>
                      <a:pt x="1" y="24234"/>
                    </a:lnTo>
                    <a:lnTo>
                      <a:pt x="14" y="24234"/>
                    </a:lnTo>
                    <a:cubicBezTo>
                      <a:pt x="14" y="24234"/>
                      <a:pt x="203" y="24229"/>
                      <a:pt x="558" y="24229"/>
                    </a:cubicBezTo>
                    <a:cubicBezTo>
                      <a:pt x="2473" y="24229"/>
                      <a:pt x="9215" y="24384"/>
                      <a:pt x="17213" y="26370"/>
                    </a:cubicBezTo>
                    <a:lnTo>
                      <a:pt x="29952" y="5713"/>
                    </a:lnTo>
                    <a:cubicBezTo>
                      <a:pt x="29952" y="5713"/>
                      <a:pt x="20827" y="0"/>
                      <a:pt x="14" y="0"/>
                    </a:cubicBezTo>
                    <a:close/>
                  </a:path>
                </a:pathLst>
              </a:custGeom>
              <a:noFill/>
              <a:ln w="34925" cap="flat" cmpd="sng">
                <a:solidFill>
                  <a:srgbClr val="A5B7C6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21" name="Google Shape;9106;p79">
                <a:extLst>
                  <a:ext uri="{FF2B5EF4-FFF2-40B4-BE49-F238E27FC236}">
                    <a16:creationId xmlns:a16="http://schemas.microsoft.com/office/drawing/2014/main" id="{790459BD-9521-48BB-931B-7E4681EEC7CE}"/>
                  </a:ext>
                </a:extLst>
              </p:cNvPr>
              <p:cNvGrpSpPr/>
              <p:nvPr/>
            </p:nvGrpSpPr>
            <p:grpSpPr>
              <a:xfrm>
                <a:off x="7287122" y="1842861"/>
                <a:ext cx="1005303" cy="73419"/>
                <a:chOff x="7287122" y="1842861"/>
                <a:chExt cx="1005303" cy="73419"/>
              </a:xfrm>
            </p:grpSpPr>
            <p:sp>
              <p:nvSpPr>
                <p:cNvPr id="22" name="Google Shape;9107;p79">
                  <a:extLst>
                    <a:ext uri="{FF2B5EF4-FFF2-40B4-BE49-F238E27FC236}">
                      <a16:creationId xmlns:a16="http://schemas.microsoft.com/office/drawing/2014/main" id="{7296139B-B1DC-47DB-9485-1E7B46CB3F41}"/>
                    </a:ext>
                  </a:extLst>
                </p:cNvPr>
                <p:cNvSpPr/>
                <p:nvPr/>
              </p:nvSpPr>
              <p:spPr>
                <a:xfrm flipH="1">
                  <a:off x="7287122" y="1842861"/>
                  <a:ext cx="507103" cy="734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124" h="7846" extrusionOk="0">
                      <a:moveTo>
                        <a:pt x="0" y="1"/>
                      </a:moveTo>
                      <a:lnTo>
                        <a:pt x="0" y="7845"/>
                      </a:lnTo>
                      <a:lnTo>
                        <a:pt x="35123" y="7845"/>
                      </a:lnTo>
                      <a:lnTo>
                        <a:pt x="35123" y="1"/>
                      </a:lnTo>
                      <a:close/>
                    </a:path>
                  </a:pathLst>
                </a:custGeom>
                <a:noFill/>
                <a:ln w="34925" cap="flat" cmpd="sng">
                  <a:solidFill>
                    <a:srgbClr val="A5B7C6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23" name="Google Shape;9108;p79">
                  <a:extLst>
                    <a:ext uri="{FF2B5EF4-FFF2-40B4-BE49-F238E27FC236}">
                      <a16:creationId xmlns:a16="http://schemas.microsoft.com/office/drawing/2014/main" id="{02551AE5-F292-4B46-A20C-EB1AB0361D52}"/>
                    </a:ext>
                  </a:extLst>
                </p:cNvPr>
                <p:cNvCxnSpPr/>
                <p:nvPr/>
              </p:nvCxnSpPr>
              <p:spPr>
                <a:xfrm rot="10800000">
                  <a:off x="7818425" y="1879575"/>
                  <a:ext cx="474000" cy="0"/>
                </a:xfrm>
                <a:prstGeom prst="straightConnector1">
                  <a:avLst/>
                </a:prstGeom>
                <a:noFill/>
                <a:ln w="34925" cap="flat" cmpd="sng">
                  <a:solidFill>
                    <a:srgbClr val="A5B7C6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  <p:grpSp>
          <p:nvGrpSpPr>
            <p:cNvPr id="10" name="Google Shape;9109;p79">
              <a:extLst>
                <a:ext uri="{FF2B5EF4-FFF2-40B4-BE49-F238E27FC236}">
                  <a16:creationId xmlns:a16="http://schemas.microsoft.com/office/drawing/2014/main" id="{E6A2D3EF-FD82-4C69-BE8D-2152A563FF66}"/>
                </a:ext>
              </a:extLst>
            </p:cNvPr>
            <p:cNvGrpSpPr/>
            <p:nvPr/>
          </p:nvGrpSpPr>
          <p:grpSpPr>
            <a:xfrm>
              <a:off x="7287122" y="1447520"/>
              <a:ext cx="1219403" cy="286667"/>
              <a:chOff x="7287122" y="1447520"/>
              <a:chExt cx="1219403" cy="286667"/>
            </a:xfrm>
          </p:grpSpPr>
          <p:sp>
            <p:nvSpPr>
              <p:cNvPr id="16" name="Google Shape;9110;p79">
                <a:extLst>
                  <a:ext uri="{FF2B5EF4-FFF2-40B4-BE49-F238E27FC236}">
                    <a16:creationId xmlns:a16="http://schemas.microsoft.com/office/drawing/2014/main" id="{02185073-236A-4DF4-8A9D-512851397B54}"/>
                  </a:ext>
                </a:extLst>
              </p:cNvPr>
              <p:cNvSpPr/>
              <p:nvPr/>
            </p:nvSpPr>
            <p:spPr>
              <a:xfrm flipH="1">
                <a:off x="8087665" y="1447520"/>
                <a:ext cx="418860" cy="286667"/>
              </a:xfrm>
              <a:custGeom>
                <a:avLst/>
                <a:gdLst/>
                <a:ahLst/>
                <a:cxnLst/>
                <a:rect l="l" t="t" r="r" b="b"/>
                <a:pathLst>
                  <a:path w="44762" h="30635" extrusionOk="0">
                    <a:moveTo>
                      <a:pt x="1" y="1"/>
                    </a:moveTo>
                    <a:lnTo>
                      <a:pt x="1" y="24648"/>
                    </a:lnTo>
                    <a:lnTo>
                      <a:pt x="14" y="24648"/>
                    </a:lnTo>
                    <a:cubicBezTo>
                      <a:pt x="5607" y="24648"/>
                      <a:pt x="18560" y="25130"/>
                      <a:pt x="31390" y="30635"/>
                    </a:cubicBezTo>
                    <a:lnTo>
                      <a:pt x="44761" y="10327"/>
                    </a:lnTo>
                    <a:cubicBezTo>
                      <a:pt x="44761" y="10327"/>
                      <a:pt x="27304" y="1"/>
                      <a:pt x="14" y="1"/>
                    </a:cubicBezTo>
                    <a:close/>
                  </a:path>
                </a:pathLst>
              </a:custGeom>
              <a:noFill/>
              <a:ln w="349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17" name="Google Shape;9111;p79">
                <a:extLst>
                  <a:ext uri="{FF2B5EF4-FFF2-40B4-BE49-F238E27FC236}">
                    <a16:creationId xmlns:a16="http://schemas.microsoft.com/office/drawing/2014/main" id="{A5E70898-3E4E-4465-9C37-05F8D4431420}"/>
                  </a:ext>
                </a:extLst>
              </p:cNvPr>
              <p:cNvGrpSpPr/>
              <p:nvPr/>
            </p:nvGrpSpPr>
            <p:grpSpPr>
              <a:xfrm>
                <a:off x="7287122" y="1581977"/>
                <a:ext cx="852803" cy="73428"/>
                <a:chOff x="7287122" y="1581977"/>
                <a:chExt cx="852803" cy="73428"/>
              </a:xfrm>
            </p:grpSpPr>
            <p:sp>
              <p:nvSpPr>
                <p:cNvPr id="18" name="Google Shape;9112;p79">
                  <a:extLst>
                    <a:ext uri="{FF2B5EF4-FFF2-40B4-BE49-F238E27FC236}">
                      <a16:creationId xmlns:a16="http://schemas.microsoft.com/office/drawing/2014/main" id="{176F024C-B066-41E3-BBA2-193D74F9B5F5}"/>
                    </a:ext>
                  </a:extLst>
                </p:cNvPr>
                <p:cNvSpPr/>
                <p:nvPr/>
              </p:nvSpPr>
              <p:spPr>
                <a:xfrm flipH="1">
                  <a:off x="7287122" y="1581977"/>
                  <a:ext cx="507103" cy="734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124" h="7847" extrusionOk="0">
                      <a:moveTo>
                        <a:pt x="0" y="1"/>
                      </a:moveTo>
                      <a:lnTo>
                        <a:pt x="0" y="7847"/>
                      </a:lnTo>
                      <a:lnTo>
                        <a:pt x="35123" y="7847"/>
                      </a:lnTo>
                      <a:lnTo>
                        <a:pt x="35123" y="1"/>
                      </a:lnTo>
                      <a:close/>
                    </a:path>
                  </a:pathLst>
                </a:custGeom>
                <a:noFill/>
                <a:ln w="34925" cap="flat" cmpd="sng">
                  <a:solidFill>
                    <a:srgbClr val="869FB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cxnSp>
              <p:nvCxnSpPr>
                <p:cNvPr id="19" name="Google Shape;9113;p79">
                  <a:extLst>
                    <a:ext uri="{FF2B5EF4-FFF2-40B4-BE49-F238E27FC236}">
                      <a16:creationId xmlns:a16="http://schemas.microsoft.com/office/drawing/2014/main" id="{3C1780AF-E9E8-4D65-93EE-746DE318914A}"/>
                    </a:ext>
                  </a:extLst>
                </p:cNvPr>
                <p:cNvCxnSpPr/>
                <p:nvPr/>
              </p:nvCxnSpPr>
              <p:spPr>
                <a:xfrm rot="10800000">
                  <a:off x="7818325" y="1618700"/>
                  <a:ext cx="321600" cy="0"/>
                </a:xfrm>
                <a:prstGeom prst="straightConnector1">
                  <a:avLst/>
                </a:prstGeom>
                <a:noFill/>
                <a:ln w="34925" cap="flat" cmpd="sng">
                  <a:solidFill>
                    <a:srgbClr val="869FB2"/>
                  </a:solidFill>
                  <a:prstDash val="solid"/>
                  <a:round/>
                  <a:headEnd type="none" w="med" len="med"/>
                  <a:tailEnd type="oval" w="med" len="med"/>
                </a:ln>
              </p:spPr>
            </p:cxnSp>
          </p:grpSp>
        </p:grpSp>
      </p:grpSp>
      <p:grpSp>
        <p:nvGrpSpPr>
          <p:cNvPr id="28" name="Google Shape;9848;p82">
            <a:extLst>
              <a:ext uri="{FF2B5EF4-FFF2-40B4-BE49-F238E27FC236}">
                <a16:creationId xmlns:a16="http://schemas.microsoft.com/office/drawing/2014/main" id="{396E7C66-B3E6-42A6-A158-6DEFC001380D}"/>
              </a:ext>
            </a:extLst>
          </p:cNvPr>
          <p:cNvGrpSpPr/>
          <p:nvPr/>
        </p:nvGrpSpPr>
        <p:grpSpPr>
          <a:xfrm>
            <a:off x="2839513" y="1789175"/>
            <a:ext cx="679229" cy="644916"/>
            <a:chOff x="6479471" y="2079003"/>
            <a:chExt cx="348923" cy="348706"/>
          </a:xfrm>
          <a:solidFill>
            <a:srgbClr val="0D5592"/>
          </a:solidFill>
        </p:grpSpPr>
        <p:sp>
          <p:nvSpPr>
            <p:cNvPr id="29" name="Google Shape;9849;p82">
              <a:extLst>
                <a:ext uri="{FF2B5EF4-FFF2-40B4-BE49-F238E27FC236}">
                  <a16:creationId xmlns:a16="http://schemas.microsoft.com/office/drawing/2014/main" id="{98A42895-5505-461C-97B1-89BE2B015A8A}"/>
                </a:ext>
              </a:extLst>
            </p:cNvPr>
            <p:cNvSpPr/>
            <p:nvPr/>
          </p:nvSpPr>
          <p:spPr>
            <a:xfrm>
              <a:off x="6479471" y="2200291"/>
              <a:ext cx="38170" cy="22566"/>
            </a:xfrm>
            <a:custGeom>
              <a:avLst/>
              <a:gdLst/>
              <a:ahLst/>
              <a:cxnLst/>
              <a:rect l="l" t="t" r="r" b="b"/>
              <a:pathLst>
                <a:path w="1387" h="820" extrusionOk="0">
                  <a:moveTo>
                    <a:pt x="379" y="0"/>
                  </a:moveTo>
                  <a:cubicBezTo>
                    <a:pt x="158" y="0"/>
                    <a:pt x="1" y="189"/>
                    <a:pt x="1" y="378"/>
                  </a:cubicBezTo>
                  <a:cubicBezTo>
                    <a:pt x="1" y="630"/>
                    <a:pt x="190" y="819"/>
                    <a:pt x="379" y="819"/>
                  </a:cubicBezTo>
                  <a:lnTo>
                    <a:pt x="946" y="819"/>
                  </a:lnTo>
                  <a:cubicBezTo>
                    <a:pt x="1166" y="819"/>
                    <a:pt x="1387" y="630"/>
                    <a:pt x="1387" y="378"/>
                  </a:cubicBezTo>
                  <a:cubicBezTo>
                    <a:pt x="1387" y="189"/>
                    <a:pt x="1166" y="0"/>
                    <a:pt x="94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30" name="Google Shape;9850;p82">
              <a:extLst>
                <a:ext uri="{FF2B5EF4-FFF2-40B4-BE49-F238E27FC236}">
                  <a16:creationId xmlns:a16="http://schemas.microsoft.com/office/drawing/2014/main" id="{5ADAA17B-5AB1-429C-B4B1-892F62C13789}"/>
                </a:ext>
              </a:extLst>
            </p:cNvPr>
            <p:cNvGrpSpPr/>
            <p:nvPr/>
          </p:nvGrpSpPr>
          <p:grpSpPr>
            <a:xfrm>
              <a:off x="6520582" y="2079003"/>
              <a:ext cx="307811" cy="348706"/>
              <a:chOff x="-60218325" y="2304850"/>
              <a:chExt cx="279625" cy="316775"/>
            </a:xfrm>
            <a:grpFill/>
          </p:grpSpPr>
          <p:sp>
            <p:nvSpPr>
              <p:cNvPr id="31" name="Google Shape;9851;p82">
                <a:extLst>
                  <a:ext uri="{FF2B5EF4-FFF2-40B4-BE49-F238E27FC236}">
                    <a16:creationId xmlns:a16="http://schemas.microsoft.com/office/drawing/2014/main" id="{C9E19993-3B3C-40C4-96C3-D88E0C588269}"/>
                  </a:ext>
                </a:extLst>
              </p:cNvPr>
              <p:cNvSpPr/>
              <p:nvPr/>
            </p:nvSpPr>
            <p:spPr>
              <a:xfrm>
                <a:off x="-60218325" y="2304850"/>
                <a:ext cx="235525" cy="316775"/>
              </a:xfrm>
              <a:custGeom>
                <a:avLst/>
                <a:gdLst/>
                <a:ahLst/>
                <a:cxnLst/>
                <a:rect l="l" t="t" r="r" b="b"/>
                <a:pathLst>
                  <a:path w="9421" h="12671" extrusionOk="0">
                    <a:moveTo>
                      <a:pt x="4884" y="825"/>
                    </a:moveTo>
                    <a:cubicBezTo>
                      <a:pt x="6994" y="825"/>
                      <a:pt x="8633" y="2463"/>
                      <a:pt x="8633" y="4542"/>
                    </a:cubicBezTo>
                    <a:cubicBezTo>
                      <a:pt x="8570" y="6023"/>
                      <a:pt x="7688" y="7378"/>
                      <a:pt x="6364" y="7945"/>
                    </a:cubicBezTo>
                    <a:cubicBezTo>
                      <a:pt x="6207" y="8039"/>
                      <a:pt x="6112" y="8165"/>
                      <a:pt x="6112" y="8354"/>
                    </a:cubicBezTo>
                    <a:lnTo>
                      <a:pt x="6112" y="8543"/>
                    </a:lnTo>
                    <a:lnTo>
                      <a:pt x="3623" y="8543"/>
                    </a:lnTo>
                    <a:lnTo>
                      <a:pt x="3623" y="8354"/>
                    </a:lnTo>
                    <a:cubicBezTo>
                      <a:pt x="3623" y="8197"/>
                      <a:pt x="3560" y="8039"/>
                      <a:pt x="3403" y="7945"/>
                    </a:cubicBezTo>
                    <a:cubicBezTo>
                      <a:pt x="1828" y="7251"/>
                      <a:pt x="914" y="5582"/>
                      <a:pt x="1229" y="3880"/>
                    </a:cubicBezTo>
                    <a:cubicBezTo>
                      <a:pt x="1481" y="2431"/>
                      <a:pt x="2647" y="1203"/>
                      <a:pt x="4096" y="888"/>
                    </a:cubicBezTo>
                    <a:cubicBezTo>
                      <a:pt x="4379" y="856"/>
                      <a:pt x="4663" y="825"/>
                      <a:pt x="4884" y="825"/>
                    </a:cubicBezTo>
                    <a:close/>
                    <a:moveTo>
                      <a:pt x="6081" y="9362"/>
                    </a:moveTo>
                    <a:lnTo>
                      <a:pt x="6081" y="10213"/>
                    </a:lnTo>
                    <a:lnTo>
                      <a:pt x="3592" y="10213"/>
                    </a:lnTo>
                    <a:lnTo>
                      <a:pt x="3592" y="9362"/>
                    </a:lnTo>
                    <a:close/>
                    <a:moveTo>
                      <a:pt x="5986" y="11032"/>
                    </a:moveTo>
                    <a:cubicBezTo>
                      <a:pt x="5829" y="11505"/>
                      <a:pt x="5419" y="11851"/>
                      <a:pt x="4852" y="11851"/>
                    </a:cubicBezTo>
                    <a:cubicBezTo>
                      <a:pt x="4316" y="11851"/>
                      <a:pt x="3875" y="11505"/>
                      <a:pt x="3686" y="11032"/>
                    </a:cubicBezTo>
                    <a:close/>
                    <a:moveTo>
                      <a:pt x="4842" y="0"/>
                    </a:moveTo>
                    <a:cubicBezTo>
                      <a:pt x="4526" y="0"/>
                      <a:pt x="4202" y="32"/>
                      <a:pt x="3875" y="100"/>
                    </a:cubicBezTo>
                    <a:cubicBezTo>
                      <a:pt x="2111" y="509"/>
                      <a:pt x="693" y="1959"/>
                      <a:pt x="378" y="3723"/>
                    </a:cubicBezTo>
                    <a:cubicBezTo>
                      <a:pt x="0" y="5834"/>
                      <a:pt x="1071" y="7724"/>
                      <a:pt x="2773" y="8575"/>
                    </a:cubicBezTo>
                    <a:lnTo>
                      <a:pt x="2773" y="10591"/>
                    </a:lnTo>
                    <a:cubicBezTo>
                      <a:pt x="2773" y="11725"/>
                      <a:pt x="3718" y="12670"/>
                      <a:pt x="4852" y="12670"/>
                    </a:cubicBezTo>
                    <a:cubicBezTo>
                      <a:pt x="5986" y="12670"/>
                      <a:pt x="6963" y="11725"/>
                      <a:pt x="6963" y="10591"/>
                    </a:cubicBezTo>
                    <a:lnTo>
                      <a:pt x="6963" y="8575"/>
                    </a:lnTo>
                    <a:cubicBezTo>
                      <a:pt x="8444" y="7787"/>
                      <a:pt x="9420" y="6243"/>
                      <a:pt x="9420" y="4511"/>
                    </a:cubicBezTo>
                    <a:cubicBezTo>
                      <a:pt x="9392" y="1995"/>
                      <a:pt x="7331" y="0"/>
                      <a:pt x="484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2" name="Google Shape;9852;p82">
                <a:extLst>
                  <a:ext uri="{FF2B5EF4-FFF2-40B4-BE49-F238E27FC236}">
                    <a16:creationId xmlns:a16="http://schemas.microsoft.com/office/drawing/2014/main" id="{511C90B0-F1AC-4DC3-92A7-BDA3195F8446}"/>
                  </a:ext>
                </a:extLst>
              </p:cNvPr>
              <p:cNvSpPr/>
              <p:nvPr/>
            </p:nvSpPr>
            <p:spPr>
              <a:xfrm>
                <a:off x="-60127750" y="2347500"/>
                <a:ext cx="62250" cy="145750"/>
              </a:xfrm>
              <a:custGeom>
                <a:avLst/>
                <a:gdLst/>
                <a:ahLst/>
                <a:cxnLst/>
                <a:rect l="l" t="t" r="r" b="b"/>
                <a:pathLst>
                  <a:path w="2490" h="5830" extrusionOk="0">
                    <a:moveTo>
                      <a:pt x="1229" y="1"/>
                    </a:moveTo>
                    <a:cubicBezTo>
                      <a:pt x="1009" y="1"/>
                      <a:pt x="851" y="190"/>
                      <a:pt x="851" y="379"/>
                    </a:cubicBezTo>
                    <a:lnTo>
                      <a:pt x="851" y="662"/>
                    </a:lnTo>
                    <a:cubicBezTo>
                      <a:pt x="378" y="820"/>
                      <a:pt x="0" y="1292"/>
                      <a:pt x="0" y="1828"/>
                    </a:cubicBezTo>
                    <a:cubicBezTo>
                      <a:pt x="0" y="2521"/>
                      <a:pt x="567" y="2899"/>
                      <a:pt x="1009" y="3214"/>
                    </a:cubicBezTo>
                    <a:cubicBezTo>
                      <a:pt x="1324" y="3466"/>
                      <a:pt x="1670" y="3687"/>
                      <a:pt x="1670" y="3939"/>
                    </a:cubicBezTo>
                    <a:cubicBezTo>
                      <a:pt x="1670" y="4159"/>
                      <a:pt x="1481" y="4348"/>
                      <a:pt x="1229" y="4348"/>
                    </a:cubicBezTo>
                    <a:cubicBezTo>
                      <a:pt x="1009" y="4348"/>
                      <a:pt x="851" y="4159"/>
                      <a:pt x="851" y="3939"/>
                    </a:cubicBezTo>
                    <a:cubicBezTo>
                      <a:pt x="851" y="3687"/>
                      <a:pt x="630" y="3498"/>
                      <a:pt x="441" y="3498"/>
                    </a:cubicBezTo>
                    <a:cubicBezTo>
                      <a:pt x="221" y="3498"/>
                      <a:pt x="0" y="3687"/>
                      <a:pt x="0" y="3939"/>
                    </a:cubicBezTo>
                    <a:cubicBezTo>
                      <a:pt x="0" y="4474"/>
                      <a:pt x="378" y="4915"/>
                      <a:pt x="851" y="5104"/>
                    </a:cubicBezTo>
                    <a:lnTo>
                      <a:pt x="851" y="5388"/>
                    </a:lnTo>
                    <a:cubicBezTo>
                      <a:pt x="851" y="5608"/>
                      <a:pt x="1040" y="5829"/>
                      <a:pt x="1229" y="5829"/>
                    </a:cubicBezTo>
                    <a:cubicBezTo>
                      <a:pt x="1481" y="5829"/>
                      <a:pt x="1670" y="5608"/>
                      <a:pt x="1670" y="5388"/>
                    </a:cubicBezTo>
                    <a:lnTo>
                      <a:pt x="1670" y="5104"/>
                    </a:lnTo>
                    <a:cubicBezTo>
                      <a:pt x="2143" y="4947"/>
                      <a:pt x="2489" y="4474"/>
                      <a:pt x="2489" y="3939"/>
                    </a:cubicBezTo>
                    <a:cubicBezTo>
                      <a:pt x="2489" y="3246"/>
                      <a:pt x="1954" y="2868"/>
                      <a:pt x="1513" y="2553"/>
                    </a:cubicBezTo>
                    <a:cubicBezTo>
                      <a:pt x="1198" y="2300"/>
                      <a:pt x="851" y="2080"/>
                      <a:pt x="851" y="1828"/>
                    </a:cubicBezTo>
                    <a:cubicBezTo>
                      <a:pt x="788" y="1607"/>
                      <a:pt x="1009" y="1418"/>
                      <a:pt x="1229" y="1418"/>
                    </a:cubicBezTo>
                    <a:cubicBezTo>
                      <a:pt x="1481" y="1418"/>
                      <a:pt x="1670" y="1607"/>
                      <a:pt x="1670" y="1828"/>
                    </a:cubicBezTo>
                    <a:cubicBezTo>
                      <a:pt x="1670" y="2080"/>
                      <a:pt x="1859" y="2269"/>
                      <a:pt x="2048" y="2269"/>
                    </a:cubicBezTo>
                    <a:cubicBezTo>
                      <a:pt x="2300" y="2269"/>
                      <a:pt x="2489" y="2080"/>
                      <a:pt x="2489" y="1828"/>
                    </a:cubicBezTo>
                    <a:cubicBezTo>
                      <a:pt x="2489" y="1292"/>
                      <a:pt x="2143" y="851"/>
                      <a:pt x="1670" y="662"/>
                    </a:cubicBezTo>
                    <a:lnTo>
                      <a:pt x="1670" y="379"/>
                    </a:lnTo>
                    <a:cubicBezTo>
                      <a:pt x="1670" y="158"/>
                      <a:pt x="1481" y="1"/>
                      <a:pt x="1229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3" name="Google Shape;9853;p82">
                <a:extLst>
                  <a:ext uri="{FF2B5EF4-FFF2-40B4-BE49-F238E27FC236}">
                    <a16:creationId xmlns:a16="http://schemas.microsoft.com/office/drawing/2014/main" id="{98692D40-21A9-46B9-B02E-E0FB92E3E016}"/>
                  </a:ext>
                </a:extLst>
              </p:cNvPr>
              <p:cNvSpPr/>
              <p:nvPr/>
            </p:nvSpPr>
            <p:spPr>
              <a:xfrm>
                <a:off x="-60212825" y="2510750"/>
                <a:ext cx="32325" cy="30325"/>
              </a:xfrm>
              <a:custGeom>
                <a:avLst/>
                <a:gdLst/>
                <a:ahLst/>
                <a:cxnLst/>
                <a:rect l="l" t="t" r="r" b="b"/>
                <a:pathLst>
                  <a:path w="1293" h="1213" extrusionOk="0">
                    <a:moveTo>
                      <a:pt x="836" y="0"/>
                    </a:moveTo>
                    <a:cubicBezTo>
                      <a:pt x="725" y="0"/>
                      <a:pt x="615" y="39"/>
                      <a:pt x="536" y="118"/>
                    </a:cubicBezTo>
                    <a:lnTo>
                      <a:pt x="158" y="496"/>
                    </a:lnTo>
                    <a:cubicBezTo>
                      <a:pt x="1" y="654"/>
                      <a:pt x="1" y="906"/>
                      <a:pt x="158" y="1095"/>
                    </a:cubicBezTo>
                    <a:cubicBezTo>
                      <a:pt x="237" y="1174"/>
                      <a:pt x="340" y="1213"/>
                      <a:pt x="442" y="1213"/>
                    </a:cubicBezTo>
                    <a:cubicBezTo>
                      <a:pt x="544" y="1213"/>
                      <a:pt x="647" y="1174"/>
                      <a:pt x="725" y="1095"/>
                    </a:cubicBezTo>
                    <a:lnTo>
                      <a:pt x="1135" y="717"/>
                    </a:lnTo>
                    <a:cubicBezTo>
                      <a:pt x="1293" y="559"/>
                      <a:pt x="1293" y="276"/>
                      <a:pt x="1135" y="118"/>
                    </a:cubicBezTo>
                    <a:cubicBezTo>
                      <a:pt x="1056" y="39"/>
                      <a:pt x="946" y="0"/>
                      <a:pt x="83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4" name="Google Shape;9854;p82">
                <a:extLst>
                  <a:ext uri="{FF2B5EF4-FFF2-40B4-BE49-F238E27FC236}">
                    <a16:creationId xmlns:a16="http://schemas.microsoft.com/office/drawing/2014/main" id="{6724698A-45AF-4D4F-88D5-333AA41423B5}"/>
                  </a:ext>
                </a:extLst>
              </p:cNvPr>
              <p:cNvSpPr/>
              <p:nvPr/>
            </p:nvSpPr>
            <p:spPr>
              <a:xfrm>
                <a:off x="-60012750" y="2310675"/>
                <a:ext cx="32300" cy="30350"/>
              </a:xfrm>
              <a:custGeom>
                <a:avLst/>
                <a:gdLst/>
                <a:ahLst/>
                <a:cxnLst/>
                <a:rect l="l" t="t" r="r" b="b"/>
                <a:pathLst>
                  <a:path w="1292" h="1214" extrusionOk="0">
                    <a:moveTo>
                      <a:pt x="835" y="1"/>
                    </a:moveTo>
                    <a:cubicBezTo>
                      <a:pt x="725" y="1"/>
                      <a:pt x="614" y="40"/>
                      <a:pt x="536" y="119"/>
                    </a:cubicBezTo>
                    <a:lnTo>
                      <a:pt x="126" y="528"/>
                    </a:lnTo>
                    <a:cubicBezTo>
                      <a:pt x="0" y="686"/>
                      <a:pt x="0" y="938"/>
                      <a:pt x="126" y="1096"/>
                    </a:cubicBezTo>
                    <a:cubicBezTo>
                      <a:pt x="205" y="1174"/>
                      <a:pt x="315" y="1214"/>
                      <a:pt x="425" y="1214"/>
                    </a:cubicBezTo>
                    <a:cubicBezTo>
                      <a:pt x="536" y="1214"/>
                      <a:pt x="646" y="1174"/>
                      <a:pt x="725" y="1096"/>
                    </a:cubicBezTo>
                    <a:lnTo>
                      <a:pt x="1134" y="718"/>
                    </a:lnTo>
                    <a:cubicBezTo>
                      <a:pt x="1292" y="560"/>
                      <a:pt x="1292" y="276"/>
                      <a:pt x="1134" y="119"/>
                    </a:cubicBezTo>
                    <a:cubicBezTo>
                      <a:pt x="1056" y="40"/>
                      <a:pt x="945" y="1"/>
                      <a:pt x="835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5" name="Google Shape;9855;p82">
                <a:extLst>
                  <a:ext uri="{FF2B5EF4-FFF2-40B4-BE49-F238E27FC236}">
                    <a16:creationId xmlns:a16="http://schemas.microsoft.com/office/drawing/2014/main" id="{25FB9213-47D1-4527-98D6-3507C7C7CE1B}"/>
                  </a:ext>
                </a:extLst>
              </p:cNvPr>
              <p:cNvSpPr/>
              <p:nvPr/>
            </p:nvSpPr>
            <p:spPr>
              <a:xfrm>
                <a:off x="-60012750" y="2510750"/>
                <a:ext cx="32300" cy="30325"/>
              </a:xfrm>
              <a:custGeom>
                <a:avLst/>
                <a:gdLst/>
                <a:ahLst/>
                <a:cxnLst/>
                <a:rect l="l" t="t" r="r" b="b"/>
                <a:pathLst>
                  <a:path w="1292" h="1213" extrusionOk="0">
                    <a:moveTo>
                      <a:pt x="425" y="0"/>
                    </a:moveTo>
                    <a:cubicBezTo>
                      <a:pt x="315" y="0"/>
                      <a:pt x="205" y="39"/>
                      <a:pt x="126" y="118"/>
                    </a:cubicBezTo>
                    <a:cubicBezTo>
                      <a:pt x="0" y="276"/>
                      <a:pt x="0" y="559"/>
                      <a:pt x="126" y="717"/>
                    </a:cubicBezTo>
                    <a:lnTo>
                      <a:pt x="536" y="1095"/>
                    </a:lnTo>
                    <a:cubicBezTo>
                      <a:pt x="614" y="1174"/>
                      <a:pt x="725" y="1213"/>
                      <a:pt x="835" y="1213"/>
                    </a:cubicBezTo>
                    <a:cubicBezTo>
                      <a:pt x="945" y="1213"/>
                      <a:pt x="1056" y="1174"/>
                      <a:pt x="1134" y="1095"/>
                    </a:cubicBezTo>
                    <a:cubicBezTo>
                      <a:pt x="1292" y="937"/>
                      <a:pt x="1292" y="654"/>
                      <a:pt x="1134" y="496"/>
                    </a:cubicBezTo>
                    <a:lnTo>
                      <a:pt x="725" y="118"/>
                    </a:lnTo>
                    <a:cubicBezTo>
                      <a:pt x="646" y="39"/>
                      <a:pt x="536" y="0"/>
                      <a:pt x="42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" name="Google Shape;9856;p82">
                <a:extLst>
                  <a:ext uri="{FF2B5EF4-FFF2-40B4-BE49-F238E27FC236}">
                    <a16:creationId xmlns:a16="http://schemas.microsoft.com/office/drawing/2014/main" id="{F434AE49-A1EC-4976-8EEF-4DBBEC8C4246}"/>
                  </a:ext>
                </a:extLst>
              </p:cNvPr>
              <p:cNvSpPr/>
              <p:nvPr/>
            </p:nvSpPr>
            <p:spPr>
              <a:xfrm>
                <a:off x="-60212825" y="2310675"/>
                <a:ext cx="32325" cy="30350"/>
              </a:xfrm>
              <a:custGeom>
                <a:avLst/>
                <a:gdLst/>
                <a:ahLst/>
                <a:cxnLst/>
                <a:rect l="l" t="t" r="r" b="b"/>
                <a:pathLst>
                  <a:path w="1293" h="1214" extrusionOk="0">
                    <a:moveTo>
                      <a:pt x="442" y="1"/>
                    </a:moveTo>
                    <a:cubicBezTo>
                      <a:pt x="340" y="1"/>
                      <a:pt x="237" y="40"/>
                      <a:pt x="158" y="119"/>
                    </a:cubicBezTo>
                    <a:cubicBezTo>
                      <a:pt x="1" y="276"/>
                      <a:pt x="1" y="560"/>
                      <a:pt x="158" y="718"/>
                    </a:cubicBezTo>
                    <a:lnTo>
                      <a:pt x="536" y="1096"/>
                    </a:lnTo>
                    <a:cubicBezTo>
                      <a:pt x="615" y="1174"/>
                      <a:pt x="725" y="1214"/>
                      <a:pt x="836" y="1214"/>
                    </a:cubicBezTo>
                    <a:cubicBezTo>
                      <a:pt x="946" y="1214"/>
                      <a:pt x="1056" y="1174"/>
                      <a:pt x="1135" y="1096"/>
                    </a:cubicBezTo>
                    <a:cubicBezTo>
                      <a:pt x="1293" y="938"/>
                      <a:pt x="1293" y="686"/>
                      <a:pt x="1135" y="528"/>
                    </a:cubicBezTo>
                    <a:lnTo>
                      <a:pt x="725" y="119"/>
                    </a:lnTo>
                    <a:cubicBezTo>
                      <a:pt x="647" y="40"/>
                      <a:pt x="544" y="1"/>
                      <a:pt x="442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7" name="Google Shape;9857;p82">
                <a:extLst>
                  <a:ext uri="{FF2B5EF4-FFF2-40B4-BE49-F238E27FC236}">
                    <a16:creationId xmlns:a16="http://schemas.microsoft.com/office/drawing/2014/main" id="{FA96A52D-D32C-42BB-BFCD-77BA4B39345F}"/>
                  </a:ext>
                </a:extLst>
              </p:cNvPr>
              <p:cNvSpPr/>
              <p:nvPr/>
            </p:nvSpPr>
            <p:spPr>
              <a:xfrm>
                <a:off x="-59974175" y="2415250"/>
                <a:ext cx="35475" cy="20500"/>
              </a:xfrm>
              <a:custGeom>
                <a:avLst/>
                <a:gdLst/>
                <a:ahLst/>
                <a:cxnLst/>
                <a:rect l="l" t="t" r="r" b="b"/>
                <a:pathLst>
                  <a:path w="1419" h="820" extrusionOk="0">
                    <a:moveTo>
                      <a:pt x="442" y="0"/>
                    </a:moveTo>
                    <a:cubicBezTo>
                      <a:pt x="221" y="0"/>
                      <a:pt x="1" y="189"/>
                      <a:pt x="1" y="378"/>
                    </a:cubicBezTo>
                    <a:cubicBezTo>
                      <a:pt x="1" y="630"/>
                      <a:pt x="221" y="819"/>
                      <a:pt x="442" y="819"/>
                    </a:cubicBezTo>
                    <a:lnTo>
                      <a:pt x="1009" y="819"/>
                    </a:lnTo>
                    <a:cubicBezTo>
                      <a:pt x="1230" y="819"/>
                      <a:pt x="1387" y="630"/>
                      <a:pt x="1387" y="378"/>
                    </a:cubicBezTo>
                    <a:cubicBezTo>
                      <a:pt x="1419" y="189"/>
                      <a:pt x="1230" y="0"/>
                      <a:pt x="100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38" name="Google Shape;11190;p86">
            <a:extLst>
              <a:ext uri="{FF2B5EF4-FFF2-40B4-BE49-F238E27FC236}">
                <a16:creationId xmlns:a16="http://schemas.microsoft.com/office/drawing/2014/main" id="{62B326E7-F83F-465D-8F20-8ADCF971FBCE}"/>
              </a:ext>
            </a:extLst>
          </p:cNvPr>
          <p:cNvGrpSpPr/>
          <p:nvPr/>
        </p:nvGrpSpPr>
        <p:grpSpPr>
          <a:xfrm>
            <a:off x="2307935" y="1780759"/>
            <a:ext cx="667448" cy="644915"/>
            <a:chOff x="-1700225" y="2768875"/>
            <a:chExt cx="291450" cy="292225"/>
          </a:xfrm>
          <a:solidFill>
            <a:srgbClr val="0D5592"/>
          </a:solidFill>
        </p:grpSpPr>
        <p:sp>
          <p:nvSpPr>
            <p:cNvPr id="39" name="Google Shape;11191;p86">
              <a:extLst>
                <a:ext uri="{FF2B5EF4-FFF2-40B4-BE49-F238E27FC236}">
                  <a16:creationId xmlns:a16="http://schemas.microsoft.com/office/drawing/2014/main" id="{20211682-F3C1-44D1-A774-55969D069FD7}"/>
                </a:ext>
              </a:extLst>
            </p:cNvPr>
            <p:cNvSpPr/>
            <p:nvPr/>
          </p:nvSpPr>
          <p:spPr>
            <a:xfrm>
              <a:off x="-1700225" y="2768875"/>
              <a:ext cx="291450" cy="292225"/>
            </a:xfrm>
            <a:custGeom>
              <a:avLst/>
              <a:gdLst/>
              <a:ahLst/>
              <a:cxnLst/>
              <a:rect l="l" t="t" r="r" b="b"/>
              <a:pathLst>
                <a:path w="11658" h="11689" extrusionOk="0">
                  <a:moveTo>
                    <a:pt x="10617" y="662"/>
                  </a:moveTo>
                  <a:cubicBezTo>
                    <a:pt x="10806" y="662"/>
                    <a:pt x="10964" y="820"/>
                    <a:pt x="10964" y="1009"/>
                  </a:cubicBezTo>
                  <a:lnTo>
                    <a:pt x="10964" y="2710"/>
                  </a:lnTo>
                  <a:lnTo>
                    <a:pt x="662" y="2710"/>
                  </a:lnTo>
                  <a:lnTo>
                    <a:pt x="662" y="1009"/>
                  </a:lnTo>
                  <a:cubicBezTo>
                    <a:pt x="662" y="820"/>
                    <a:pt x="819" y="662"/>
                    <a:pt x="1008" y="662"/>
                  </a:cubicBezTo>
                  <a:close/>
                  <a:moveTo>
                    <a:pt x="10933" y="3372"/>
                  </a:moveTo>
                  <a:lnTo>
                    <a:pt x="10933" y="9232"/>
                  </a:lnTo>
                  <a:cubicBezTo>
                    <a:pt x="10964" y="9484"/>
                    <a:pt x="10806" y="9610"/>
                    <a:pt x="10617" y="9610"/>
                  </a:cubicBezTo>
                  <a:lnTo>
                    <a:pt x="8916" y="9610"/>
                  </a:lnTo>
                  <a:lnTo>
                    <a:pt x="8570" y="9232"/>
                  </a:lnTo>
                  <a:cubicBezTo>
                    <a:pt x="8601" y="9169"/>
                    <a:pt x="8664" y="9043"/>
                    <a:pt x="8696" y="8917"/>
                  </a:cubicBezTo>
                  <a:lnTo>
                    <a:pt x="9200" y="8917"/>
                  </a:lnTo>
                  <a:cubicBezTo>
                    <a:pt x="9389" y="8917"/>
                    <a:pt x="9546" y="8759"/>
                    <a:pt x="9546" y="8570"/>
                  </a:cubicBezTo>
                  <a:lnTo>
                    <a:pt x="9546" y="7184"/>
                  </a:lnTo>
                  <a:cubicBezTo>
                    <a:pt x="9546" y="6995"/>
                    <a:pt x="9389" y="6837"/>
                    <a:pt x="9200" y="6837"/>
                  </a:cubicBezTo>
                  <a:lnTo>
                    <a:pt x="8696" y="6837"/>
                  </a:lnTo>
                  <a:cubicBezTo>
                    <a:pt x="8664" y="6711"/>
                    <a:pt x="8601" y="6648"/>
                    <a:pt x="8570" y="6522"/>
                  </a:cubicBezTo>
                  <a:lnTo>
                    <a:pt x="8916" y="6176"/>
                  </a:lnTo>
                  <a:cubicBezTo>
                    <a:pt x="9042" y="6050"/>
                    <a:pt x="9042" y="5798"/>
                    <a:pt x="8916" y="5703"/>
                  </a:cubicBezTo>
                  <a:lnTo>
                    <a:pt x="7940" y="4695"/>
                  </a:lnTo>
                  <a:cubicBezTo>
                    <a:pt x="7877" y="4648"/>
                    <a:pt x="7790" y="4624"/>
                    <a:pt x="7703" y="4624"/>
                  </a:cubicBezTo>
                  <a:cubicBezTo>
                    <a:pt x="7617" y="4624"/>
                    <a:pt x="7530" y="4648"/>
                    <a:pt x="7467" y="4695"/>
                  </a:cubicBezTo>
                  <a:lnTo>
                    <a:pt x="7120" y="5073"/>
                  </a:lnTo>
                  <a:cubicBezTo>
                    <a:pt x="7026" y="5041"/>
                    <a:pt x="6931" y="4978"/>
                    <a:pt x="6805" y="4947"/>
                  </a:cubicBezTo>
                  <a:lnTo>
                    <a:pt x="6805" y="4443"/>
                  </a:lnTo>
                  <a:cubicBezTo>
                    <a:pt x="6805" y="4222"/>
                    <a:pt x="6648" y="4065"/>
                    <a:pt x="6459" y="4065"/>
                  </a:cubicBezTo>
                  <a:lnTo>
                    <a:pt x="5073" y="4065"/>
                  </a:lnTo>
                  <a:cubicBezTo>
                    <a:pt x="4884" y="4065"/>
                    <a:pt x="4726" y="4222"/>
                    <a:pt x="4726" y="4443"/>
                  </a:cubicBezTo>
                  <a:lnTo>
                    <a:pt x="4726" y="4947"/>
                  </a:lnTo>
                  <a:cubicBezTo>
                    <a:pt x="4600" y="4978"/>
                    <a:pt x="4506" y="5010"/>
                    <a:pt x="4411" y="5073"/>
                  </a:cubicBezTo>
                  <a:lnTo>
                    <a:pt x="4033" y="4695"/>
                  </a:lnTo>
                  <a:cubicBezTo>
                    <a:pt x="3986" y="4648"/>
                    <a:pt x="3899" y="4624"/>
                    <a:pt x="3808" y="4624"/>
                  </a:cubicBezTo>
                  <a:cubicBezTo>
                    <a:pt x="3718" y="4624"/>
                    <a:pt x="3623" y="4648"/>
                    <a:pt x="3560" y="4695"/>
                  </a:cubicBezTo>
                  <a:lnTo>
                    <a:pt x="2584" y="5703"/>
                  </a:lnTo>
                  <a:cubicBezTo>
                    <a:pt x="2458" y="5829"/>
                    <a:pt x="2458" y="6050"/>
                    <a:pt x="2584" y="6176"/>
                  </a:cubicBezTo>
                  <a:lnTo>
                    <a:pt x="2930" y="6522"/>
                  </a:lnTo>
                  <a:cubicBezTo>
                    <a:pt x="2899" y="6585"/>
                    <a:pt x="2867" y="6711"/>
                    <a:pt x="2836" y="6837"/>
                  </a:cubicBezTo>
                  <a:lnTo>
                    <a:pt x="2300" y="6837"/>
                  </a:lnTo>
                  <a:cubicBezTo>
                    <a:pt x="2111" y="6837"/>
                    <a:pt x="1954" y="6995"/>
                    <a:pt x="1954" y="7184"/>
                  </a:cubicBezTo>
                  <a:lnTo>
                    <a:pt x="1954" y="8570"/>
                  </a:lnTo>
                  <a:cubicBezTo>
                    <a:pt x="1954" y="8759"/>
                    <a:pt x="2111" y="8917"/>
                    <a:pt x="2300" y="8917"/>
                  </a:cubicBezTo>
                  <a:lnTo>
                    <a:pt x="2836" y="8917"/>
                  </a:lnTo>
                  <a:cubicBezTo>
                    <a:pt x="2867" y="9043"/>
                    <a:pt x="2899" y="9137"/>
                    <a:pt x="2930" y="9232"/>
                  </a:cubicBezTo>
                  <a:lnTo>
                    <a:pt x="2584" y="9610"/>
                  </a:lnTo>
                  <a:lnTo>
                    <a:pt x="977" y="9610"/>
                  </a:lnTo>
                  <a:cubicBezTo>
                    <a:pt x="788" y="9610"/>
                    <a:pt x="630" y="9452"/>
                    <a:pt x="630" y="9232"/>
                  </a:cubicBezTo>
                  <a:lnTo>
                    <a:pt x="630" y="3372"/>
                  </a:lnTo>
                  <a:close/>
                  <a:moveTo>
                    <a:pt x="6112" y="4726"/>
                  </a:moveTo>
                  <a:lnTo>
                    <a:pt x="6112" y="5136"/>
                  </a:lnTo>
                  <a:cubicBezTo>
                    <a:pt x="6112" y="5294"/>
                    <a:pt x="6207" y="5420"/>
                    <a:pt x="6364" y="5451"/>
                  </a:cubicBezTo>
                  <a:cubicBezTo>
                    <a:pt x="6553" y="5514"/>
                    <a:pt x="6805" y="5609"/>
                    <a:pt x="6994" y="5735"/>
                  </a:cubicBezTo>
                  <a:cubicBezTo>
                    <a:pt x="7041" y="5769"/>
                    <a:pt x="7096" y="5783"/>
                    <a:pt x="7153" y="5783"/>
                  </a:cubicBezTo>
                  <a:cubicBezTo>
                    <a:pt x="7251" y="5783"/>
                    <a:pt x="7356" y="5743"/>
                    <a:pt x="7435" y="5703"/>
                  </a:cubicBezTo>
                  <a:lnTo>
                    <a:pt x="7751" y="5388"/>
                  </a:lnTo>
                  <a:lnTo>
                    <a:pt x="8223" y="5861"/>
                  </a:lnTo>
                  <a:lnTo>
                    <a:pt x="7908" y="6176"/>
                  </a:lnTo>
                  <a:cubicBezTo>
                    <a:pt x="7782" y="6302"/>
                    <a:pt x="7782" y="6459"/>
                    <a:pt x="7877" y="6617"/>
                  </a:cubicBezTo>
                  <a:cubicBezTo>
                    <a:pt x="7971" y="6806"/>
                    <a:pt x="8066" y="6995"/>
                    <a:pt x="8129" y="7247"/>
                  </a:cubicBezTo>
                  <a:cubicBezTo>
                    <a:pt x="8192" y="7404"/>
                    <a:pt x="8286" y="7499"/>
                    <a:pt x="8444" y="7499"/>
                  </a:cubicBezTo>
                  <a:lnTo>
                    <a:pt x="8885" y="7499"/>
                  </a:lnTo>
                  <a:lnTo>
                    <a:pt x="8885" y="8192"/>
                  </a:lnTo>
                  <a:lnTo>
                    <a:pt x="8444" y="8192"/>
                  </a:lnTo>
                  <a:cubicBezTo>
                    <a:pt x="8286" y="8192"/>
                    <a:pt x="8192" y="8286"/>
                    <a:pt x="8129" y="8444"/>
                  </a:cubicBezTo>
                  <a:cubicBezTo>
                    <a:pt x="8097" y="8665"/>
                    <a:pt x="7971" y="8885"/>
                    <a:pt x="7877" y="9074"/>
                  </a:cubicBezTo>
                  <a:cubicBezTo>
                    <a:pt x="7782" y="9200"/>
                    <a:pt x="7814" y="9389"/>
                    <a:pt x="7908" y="9515"/>
                  </a:cubicBezTo>
                  <a:lnTo>
                    <a:pt x="8223" y="9830"/>
                  </a:lnTo>
                  <a:lnTo>
                    <a:pt x="7751" y="10303"/>
                  </a:lnTo>
                  <a:lnTo>
                    <a:pt x="7435" y="9988"/>
                  </a:lnTo>
                  <a:cubicBezTo>
                    <a:pt x="7368" y="9920"/>
                    <a:pt x="7291" y="9889"/>
                    <a:pt x="7211" y="9889"/>
                  </a:cubicBezTo>
                  <a:cubicBezTo>
                    <a:pt x="7141" y="9889"/>
                    <a:pt x="7068" y="9912"/>
                    <a:pt x="6994" y="9956"/>
                  </a:cubicBezTo>
                  <a:cubicBezTo>
                    <a:pt x="6805" y="10082"/>
                    <a:pt x="6616" y="10145"/>
                    <a:pt x="6364" y="10208"/>
                  </a:cubicBezTo>
                  <a:cubicBezTo>
                    <a:pt x="6207" y="10271"/>
                    <a:pt x="6112" y="10366"/>
                    <a:pt x="6112" y="10555"/>
                  </a:cubicBezTo>
                  <a:lnTo>
                    <a:pt x="6112" y="10964"/>
                  </a:lnTo>
                  <a:lnTo>
                    <a:pt x="5419" y="10964"/>
                  </a:lnTo>
                  <a:lnTo>
                    <a:pt x="5419" y="10555"/>
                  </a:lnTo>
                  <a:cubicBezTo>
                    <a:pt x="5419" y="10366"/>
                    <a:pt x="5325" y="10271"/>
                    <a:pt x="5167" y="10208"/>
                  </a:cubicBezTo>
                  <a:cubicBezTo>
                    <a:pt x="4947" y="10177"/>
                    <a:pt x="4726" y="10051"/>
                    <a:pt x="4537" y="9956"/>
                  </a:cubicBezTo>
                  <a:cubicBezTo>
                    <a:pt x="4491" y="9921"/>
                    <a:pt x="4436" y="9908"/>
                    <a:pt x="4379" y="9908"/>
                  </a:cubicBezTo>
                  <a:cubicBezTo>
                    <a:pt x="4281" y="9908"/>
                    <a:pt x="4176" y="9948"/>
                    <a:pt x="4096" y="9988"/>
                  </a:cubicBezTo>
                  <a:lnTo>
                    <a:pt x="3781" y="10303"/>
                  </a:lnTo>
                  <a:lnTo>
                    <a:pt x="3308" y="9830"/>
                  </a:lnTo>
                  <a:lnTo>
                    <a:pt x="3623" y="9515"/>
                  </a:lnTo>
                  <a:cubicBezTo>
                    <a:pt x="3749" y="9389"/>
                    <a:pt x="3749" y="9232"/>
                    <a:pt x="3655" y="9074"/>
                  </a:cubicBezTo>
                  <a:cubicBezTo>
                    <a:pt x="3529" y="8885"/>
                    <a:pt x="3466" y="8696"/>
                    <a:pt x="3371" y="8444"/>
                  </a:cubicBezTo>
                  <a:cubicBezTo>
                    <a:pt x="3340" y="8286"/>
                    <a:pt x="3214" y="8192"/>
                    <a:pt x="3056" y="8192"/>
                  </a:cubicBezTo>
                  <a:lnTo>
                    <a:pt x="2647" y="8192"/>
                  </a:lnTo>
                  <a:lnTo>
                    <a:pt x="2647" y="7499"/>
                  </a:lnTo>
                  <a:lnTo>
                    <a:pt x="3056" y="7499"/>
                  </a:lnTo>
                  <a:cubicBezTo>
                    <a:pt x="3214" y="7499"/>
                    <a:pt x="3340" y="7404"/>
                    <a:pt x="3371" y="7247"/>
                  </a:cubicBezTo>
                  <a:cubicBezTo>
                    <a:pt x="3434" y="7026"/>
                    <a:pt x="3529" y="6806"/>
                    <a:pt x="3655" y="6617"/>
                  </a:cubicBezTo>
                  <a:cubicBezTo>
                    <a:pt x="3749" y="6491"/>
                    <a:pt x="3686" y="6302"/>
                    <a:pt x="3623" y="6176"/>
                  </a:cubicBezTo>
                  <a:lnTo>
                    <a:pt x="3308" y="5861"/>
                  </a:lnTo>
                  <a:lnTo>
                    <a:pt x="3781" y="5388"/>
                  </a:lnTo>
                  <a:lnTo>
                    <a:pt x="4096" y="5703"/>
                  </a:lnTo>
                  <a:cubicBezTo>
                    <a:pt x="4163" y="5771"/>
                    <a:pt x="4240" y="5802"/>
                    <a:pt x="4321" y="5802"/>
                  </a:cubicBezTo>
                  <a:cubicBezTo>
                    <a:pt x="4391" y="5802"/>
                    <a:pt x="4464" y="5778"/>
                    <a:pt x="4537" y="5735"/>
                  </a:cubicBezTo>
                  <a:cubicBezTo>
                    <a:pt x="4726" y="5609"/>
                    <a:pt x="4915" y="5546"/>
                    <a:pt x="5167" y="5451"/>
                  </a:cubicBezTo>
                  <a:cubicBezTo>
                    <a:pt x="5325" y="5420"/>
                    <a:pt x="5419" y="5294"/>
                    <a:pt x="5419" y="5136"/>
                  </a:cubicBezTo>
                  <a:lnTo>
                    <a:pt x="5419" y="4726"/>
                  </a:lnTo>
                  <a:close/>
                  <a:moveTo>
                    <a:pt x="1008" y="1"/>
                  </a:moveTo>
                  <a:cubicBezTo>
                    <a:pt x="473" y="1"/>
                    <a:pt x="0" y="473"/>
                    <a:pt x="0" y="1009"/>
                  </a:cubicBezTo>
                  <a:lnTo>
                    <a:pt x="0" y="9295"/>
                  </a:lnTo>
                  <a:cubicBezTo>
                    <a:pt x="0" y="9830"/>
                    <a:pt x="473" y="10303"/>
                    <a:pt x="1008" y="10303"/>
                  </a:cubicBezTo>
                  <a:lnTo>
                    <a:pt x="2867" y="10303"/>
                  </a:lnTo>
                  <a:lnTo>
                    <a:pt x="3623" y="11059"/>
                  </a:lnTo>
                  <a:cubicBezTo>
                    <a:pt x="3671" y="11122"/>
                    <a:pt x="3757" y="11153"/>
                    <a:pt x="3848" y="11153"/>
                  </a:cubicBezTo>
                  <a:cubicBezTo>
                    <a:pt x="3938" y="11153"/>
                    <a:pt x="4033" y="11122"/>
                    <a:pt x="4096" y="11059"/>
                  </a:cubicBezTo>
                  <a:lnTo>
                    <a:pt x="4442" y="10712"/>
                  </a:lnTo>
                  <a:cubicBezTo>
                    <a:pt x="4506" y="10744"/>
                    <a:pt x="4632" y="10775"/>
                    <a:pt x="4758" y="10807"/>
                  </a:cubicBezTo>
                  <a:lnTo>
                    <a:pt x="4758" y="11342"/>
                  </a:lnTo>
                  <a:cubicBezTo>
                    <a:pt x="4758" y="11531"/>
                    <a:pt x="4915" y="11689"/>
                    <a:pt x="5104" y="11689"/>
                  </a:cubicBezTo>
                  <a:lnTo>
                    <a:pt x="6490" y="11689"/>
                  </a:lnTo>
                  <a:cubicBezTo>
                    <a:pt x="6679" y="11689"/>
                    <a:pt x="6837" y="11531"/>
                    <a:pt x="6837" y="11342"/>
                  </a:cubicBezTo>
                  <a:lnTo>
                    <a:pt x="6837" y="10807"/>
                  </a:lnTo>
                  <a:cubicBezTo>
                    <a:pt x="6963" y="10775"/>
                    <a:pt x="7026" y="10744"/>
                    <a:pt x="7152" y="10712"/>
                  </a:cubicBezTo>
                  <a:lnTo>
                    <a:pt x="7498" y="11059"/>
                  </a:lnTo>
                  <a:cubicBezTo>
                    <a:pt x="7561" y="11122"/>
                    <a:pt x="7656" y="11153"/>
                    <a:pt x="7747" y="11153"/>
                  </a:cubicBezTo>
                  <a:cubicBezTo>
                    <a:pt x="7837" y="11153"/>
                    <a:pt x="7924" y="11122"/>
                    <a:pt x="7971" y="11059"/>
                  </a:cubicBezTo>
                  <a:lnTo>
                    <a:pt x="8727" y="10303"/>
                  </a:lnTo>
                  <a:lnTo>
                    <a:pt x="10617" y="10303"/>
                  </a:lnTo>
                  <a:cubicBezTo>
                    <a:pt x="11185" y="10303"/>
                    <a:pt x="11657" y="9830"/>
                    <a:pt x="11657" y="9295"/>
                  </a:cubicBezTo>
                  <a:lnTo>
                    <a:pt x="11657" y="1009"/>
                  </a:lnTo>
                  <a:cubicBezTo>
                    <a:pt x="11657" y="473"/>
                    <a:pt x="11216" y="1"/>
                    <a:pt x="1061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11192;p86">
              <a:extLst>
                <a:ext uri="{FF2B5EF4-FFF2-40B4-BE49-F238E27FC236}">
                  <a16:creationId xmlns:a16="http://schemas.microsoft.com/office/drawing/2014/main" id="{707C3E81-EADC-4314-A66D-77C26E9030B8}"/>
                </a:ext>
              </a:extLst>
            </p:cNvPr>
            <p:cNvSpPr/>
            <p:nvPr/>
          </p:nvSpPr>
          <p:spPr>
            <a:xfrm>
              <a:off x="-1667150" y="2801950"/>
              <a:ext cx="18150" cy="18150"/>
            </a:xfrm>
            <a:custGeom>
              <a:avLst/>
              <a:gdLst/>
              <a:ahLst/>
              <a:cxnLst/>
              <a:rect l="l" t="t" r="r" b="b"/>
              <a:pathLst>
                <a:path w="726" h="726" extrusionOk="0">
                  <a:moveTo>
                    <a:pt x="347" y="1"/>
                  </a:moveTo>
                  <a:cubicBezTo>
                    <a:pt x="158" y="1"/>
                    <a:pt x="1" y="158"/>
                    <a:pt x="1" y="347"/>
                  </a:cubicBezTo>
                  <a:cubicBezTo>
                    <a:pt x="1" y="536"/>
                    <a:pt x="158" y="726"/>
                    <a:pt x="347" y="726"/>
                  </a:cubicBezTo>
                  <a:cubicBezTo>
                    <a:pt x="568" y="726"/>
                    <a:pt x="725" y="536"/>
                    <a:pt x="725" y="347"/>
                  </a:cubicBezTo>
                  <a:cubicBezTo>
                    <a:pt x="725" y="158"/>
                    <a:pt x="568" y="1"/>
                    <a:pt x="34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11193;p86">
              <a:extLst>
                <a:ext uri="{FF2B5EF4-FFF2-40B4-BE49-F238E27FC236}">
                  <a16:creationId xmlns:a16="http://schemas.microsoft.com/office/drawing/2014/main" id="{43B2A3F9-55FE-4049-96E8-52B2FBC4C251}"/>
                </a:ext>
              </a:extLst>
            </p:cNvPr>
            <p:cNvSpPr/>
            <p:nvPr/>
          </p:nvSpPr>
          <p:spPr>
            <a:xfrm>
              <a:off x="-1632500" y="2801950"/>
              <a:ext cx="17350" cy="18150"/>
            </a:xfrm>
            <a:custGeom>
              <a:avLst/>
              <a:gdLst/>
              <a:ahLst/>
              <a:cxnLst/>
              <a:rect l="l" t="t" r="r" b="b"/>
              <a:pathLst>
                <a:path w="694" h="726" extrusionOk="0">
                  <a:moveTo>
                    <a:pt x="347" y="1"/>
                  </a:moveTo>
                  <a:cubicBezTo>
                    <a:pt x="158" y="1"/>
                    <a:pt x="1" y="158"/>
                    <a:pt x="1" y="347"/>
                  </a:cubicBezTo>
                  <a:cubicBezTo>
                    <a:pt x="1" y="568"/>
                    <a:pt x="158" y="726"/>
                    <a:pt x="347" y="726"/>
                  </a:cubicBezTo>
                  <a:cubicBezTo>
                    <a:pt x="536" y="726"/>
                    <a:pt x="694" y="568"/>
                    <a:pt x="694" y="347"/>
                  </a:cubicBezTo>
                  <a:cubicBezTo>
                    <a:pt x="694" y="158"/>
                    <a:pt x="536" y="1"/>
                    <a:pt x="34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" name="Google Shape;11194;p86">
              <a:extLst>
                <a:ext uri="{FF2B5EF4-FFF2-40B4-BE49-F238E27FC236}">
                  <a16:creationId xmlns:a16="http://schemas.microsoft.com/office/drawing/2014/main" id="{FB4A06FB-D123-45C1-AE66-1109257E40CB}"/>
                </a:ext>
              </a:extLst>
            </p:cNvPr>
            <p:cNvSpPr/>
            <p:nvPr/>
          </p:nvSpPr>
          <p:spPr>
            <a:xfrm>
              <a:off x="-1597850" y="2801950"/>
              <a:ext cx="17375" cy="18150"/>
            </a:xfrm>
            <a:custGeom>
              <a:avLst/>
              <a:gdLst/>
              <a:ahLst/>
              <a:cxnLst/>
              <a:rect l="l" t="t" r="r" b="b"/>
              <a:pathLst>
                <a:path w="695" h="726" extrusionOk="0">
                  <a:moveTo>
                    <a:pt x="347" y="1"/>
                  </a:moveTo>
                  <a:cubicBezTo>
                    <a:pt x="158" y="1"/>
                    <a:pt x="1" y="158"/>
                    <a:pt x="1" y="347"/>
                  </a:cubicBezTo>
                  <a:cubicBezTo>
                    <a:pt x="1" y="568"/>
                    <a:pt x="158" y="726"/>
                    <a:pt x="347" y="726"/>
                  </a:cubicBezTo>
                  <a:cubicBezTo>
                    <a:pt x="537" y="726"/>
                    <a:pt x="694" y="568"/>
                    <a:pt x="694" y="347"/>
                  </a:cubicBezTo>
                  <a:cubicBezTo>
                    <a:pt x="694" y="158"/>
                    <a:pt x="537" y="1"/>
                    <a:pt x="34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11195;p86">
              <a:extLst>
                <a:ext uri="{FF2B5EF4-FFF2-40B4-BE49-F238E27FC236}">
                  <a16:creationId xmlns:a16="http://schemas.microsoft.com/office/drawing/2014/main" id="{0DE04E64-8865-435F-96FD-7CB97A9FBC4C}"/>
                </a:ext>
              </a:extLst>
            </p:cNvPr>
            <p:cNvSpPr/>
            <p:nvPr/>
          </p:nvSpPr>
          <p:spPr>
            <a:xfrm>
              <a:off x="-1564750" y="2801950"/>
              <a:ext cx="120525" cy="18150"/>
            </a:xfrm>
            <a:custGeom>
              <a:avLst/>
              <a:gdLst/>
              <a:ahLst/>
              <a:cxnLst/>
              <a:rect l="l" t="t" r="r" b="b"/>
              <a:pathLst>
                <a:path w="4821" h="726" extrusionOk="0">
                  <a:moveTo>
                    <a:pt x="347" y="1"/>
                  </a:moveTo>
                  <a:cubicBezTo>
                    <a:pt x="158" y="1"/>
                    <a:pt x="0" y="158"/>
                    <a:pt x="0" y="347"/>
                  </a:cubicBezTo>
                  <a:cubicBezTo>
                    <a:pt x="32" y="568"/>
                    <a:pt x="189" y="726"/>
                    <a:pt x="347" y="726"/>
                  </a:cubicBezTo>
                  <a:lnTo>
                    <a:pt x="4442" y="726"/>
                  </a:lnTo>
                  <a:cubicBezTo>
                    <a:pt x="4663" y="726"/>
                    <a:pt x="4820" y="568"/>
                    <a:pt x="4820" y="347"/>
                  </a:cubicBezTo>
                  <a:cubicBezTo>
                    <a:pt x="4820" y="158"/>
                    <a:pt x="4663" y="1"/>
                    <a:pt x="444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" name="Google Shape;11196;p86">
              <a:extLst>
                <a:ext uri="{FF2B5EF4-FFF2-40B4-BE49-F238E27FC236}">
                  <a16:creationId xmlns:a16="http://schemas.microsoft.com/office/drawing/2014/main" id="{0295E90A-E079-44F4-9DA6-BD609B38F38D}"/>
                </a:ext>
              </a:extLst>
            </p:cNvPr>
            <p:cNvSpPr/>
            <p:nvPr/>
          </p:nvSpPr>
          <p:spPr>
            <a:xfrm>
              <a:off x="-1597850" y="2924050"/>
              <a:ext cx="85100" cy="85075"/>
            </a:xfrm>
            <a:custGeom>
              <a:avLst/>
              <a:gdLst/>
              <a:ahLst/>
              <a:cxnLst/>
              <a:rect l="l" t="t" r="r" b="b"/>
              <a:pathLst>
                <a:path w="3404" h="3403" extrusionOk="0">
                  <a:moveTo>
                    <a:pt x="1671" y="662"/>
                  </a:moveTo>
                  <a:cubicBezTo>
                    <a:pt x="2238" y="662"/>
                    <a:pt x="2710" y="1134"/>
                    <a:pt x="2710" y="1701"/>
                  </a:cubicBezTo>
                  <a:cubicBezTo>
                    <a:pt x="2710" y="2237"/>
                    <a:pt x="2269" y="2710"/>
                    <a:pt x="1671" y="2710"/>
                  </a:cubicBezTo>
                  <a:cubicBezTo>
                    <a:pt x="1135" y="2710"/>
                    <a:pt x="663" y="2237"/>
                    <a:pt x="663" y="1701"/>
                  </a:cubicBezTo>
                  <a:cubicBezTo>
                    <a:pt x="663" y="1134"/>
                    <a:pt x="1135" y="662"/>
                    <a:pt x="1671" y="662"/>
                  </a:cubicBezTo>
                  <a:close/>
                  <a:moveTo>
                    <a:pt x="1671" y="0"/>
                  </a:moveTo>
                  <a:cubicBezTo>
                    <a:pt x="726" y="0"/>
                    <a:pt x="1" y="756"/>
                    <a:pt x="1" y="1701"/>
                  </a:cubicBezTo>
                  <a:cubicBezTo>
                    <a:pt x="1" y="2647"/>
                    <a:pt x="726" y="3403"/>
                    <a:pt x="1671" y="3403"/>
                  </a:cubicBezTo>
                  <a:cubicBezTo>
                    <a:pt x="2616" y="3403"/>
                    <a:pt x="3372" y="2647"/>
                    <a:pt x="3372" y="1701"/>
                  </a:cubicBezTo>
                  <a:cubicBezTo>
                    <a:pt x="3403" y="756"/>
                    <a:pt x="2616" y="0"/>
                    <a:pt x="167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5" name="Google Shape;11118;p86">
            <a:extLst>
              <a:ext uri="{FF2B5EF4-FFF2-40B4-BE49-F238E27FC236}">
                <a16:creationId xmlns:a16="http://schemas.microsoft.com/office/drawing/2014/main" id="{5D27DA73-DA82-40E6-806D-5020B5DA99A6}"/>
              </a:ext>
            </a:extLst>
          </p:cNvPr>
          <p:cNvSpPr/>
          <p:nvPr/>
        </p:nvSpPr>
        <p:spPr>
          <a:xfrm>
            <a:off x="2326512" y="3538947"/>
            <a:ext cx="856720" cy="843477"/>
          </a:xfrm>
          <a:custGeom>
            <a:avLst/>
            <a:gdLst/>
            <a:ahLst/>
            <a:cxnLst/>
            <a:rect l="l" t="t" r="r" b="b"/>
            <a:pathLst>
              <a:path w="11059" h="11721" extrusionOk="0">
                <a:moveTo>
                  <a:pt x="1418" y="693"/>
                </a:moveTo>
                <a:lnTo>
                  <a:pt x="1418" y="1387"/>
                </a:lnTo>
                <a:lnTo>
                  <a:pt x="725" y="1387"/>
                </a:lnTo>
                <a:lnTo>
                  <a:pt x="725" y="693"/>
                </a:lnTo>
                <a:close/>
                <a:moveTo>
                  <a:pt x="9011" y="693"/>
                </a:moveTo>
                <a:lnTo>
                  <a:pt x="9011" y="1387"/>
                </a:lnTo>
                <a:lnTo>
                  <a:pt x="8349" y="1387"/>
                </a:lnTo>
                <a:lnTo>
                  <a:pt x="8349" y="693"/>
                </a:lnTo>
                <a:close/>
                <a:moveTo>
                  <a:pt x="7656" y="1324"/>
                </a:moveTo>
                <a:lnTo>
                  <a:pt x="7656" y="1670"/>
                </a:lnTo>
                <a:cubicBezTo>
                  <a:pt x="7656" y="1891"/>
                  <a:pt x="7813" y="2048"/>
                  <a:pt x="8034" y="2048"/>
                </a:cubicBezTo>
                <a:lnTo>
                  <a:pt x="8381" y="2048"/>
                </a:lnTo>
                <a:lnTo>
                  <a:pt x="8381" y="4222"/>
                </a:lnTo>
                <a:cubicBezTo>
                  <a:pt x="8255" y="4253"/>
                  <a:pt x="8160" y="4316"/>
                  <a:pt x="8034" y="4411"/>
                </a:cubicBezTo>
                <a:cubicBezTo>
                  <a:pt x="7845" y="4243"/>
                  <a:pt x="7614" y="4159"/>
                  <a:pt x="7369" y="4159"/>
                </a:cubicBezTo>
                <a:cubicBezTo>
                  <a:pt x="7246" y="4159"/>
                  <a:pt x="7120" y="4180"/>
                  <a:pt x="6994" y="4222"/>
                </a:cubicBezTo>
                <a:lnTo>
                  <a:pt x="6994" y="3088"/>
                </a:lnTo>
                <a:cubicBezTo>
                  <a:pt x="6994" y="2552"/>
                  <a:pt x="6522" y="2080"/>
                  <a:pt x="5986" y="2080"/>
                </a:cubicBezTo>
                <a:cubicBezTo>
                  <a:pt x="5419" y="2080"/>
                  <a:pt x="4947" y="2552"/>
                  <a:pt x="4947" y="3088"/>
                </a:cubicBezTo>
                <a:lnTo>
                  <a:pt x="4947" y="6459"/>
                </a:lnTo>
                <a:lnTo>
                  <a:pt x="4789" y="6301"/>
                </a:lnTo>
                <a:cubicBezTo>
                  <a:pt x="4600" y="6097"/>
                  <a:pt x="4340" y="5994"/>
                  <a:pt x="4076" y="5994"/>
                </a:cubicBezTo>
                <a:cubicBezTo>
                  <a:pt x="3812" y="5994"/>
                  <a:pt x="3545" y="6097"/>
                  <a:pt x="3340" y="6301"/>
                </a:cubicBezTo>
                <a:cubicBezTo>
                  <a:pt x="2962" y="6679"/>
                  <a:pt x="2962" y="7341"/>
                  <a:pt x="3340" y="7751"/>
                </a:cubicBezTo>
                <a:lnTo>
                  <a:pt x="3812" y="8223"/>
                </a:lnTo>
                <a:lnTo>
                  <a:pt x="2111" y="8223"/>
                </a:lnTo>
                <a:lnTo>
                  <a:pt x="2111" y="7908"/>
                </a:lnTo>
                <a:cubicBezTo>
                  <a:pt x="2111" y="7719"/>
                  <a:pt x="1954" y="7561"/>
                  <a:pt x="1765" y="7561"/>
                </a:cubicBezTo>
                <a:lnTo>
                  <a:pt x="1418" y="7561"/>
                </a:lnTo>
                <a:lnTo>
                  <a:pt x="1418" y="2048"/>
                </a:lnTo>
                <a:lnTo>
                  <a:pt x="1765" y="2048"/>
                </a:lnTo>
                <a:cubicBezTo>
                  <a:pt x="1954" y="2048"/>
                  <a:pt x="2111" y="1891"/>
                  <a:pt x="2111" y="1670"/>
                </a:cubicBezTo>
                <a:lnTo>
                  <a:pt x="2111" y="1324"/>
                </a:lnTo>
                <a:close/>
                <a:moveTo>
                  <a:pt x="1418" y="8255"/>
                </a:moveTo>
                <a:lnTo>
                  <a:pt x="1418" y="8948"/>
                </a:lnTo>
                <a:lnTo>
                  <a:pt x="725" y="8948"/>
                </a:lnTo>
                <a:lnTo>
                  <a:pt x="725" y="8255"/>
                </a:lnTo>
                <a:close/>
                <a:moveTo>
                  <a:pt x="5955" y="2836"/>
                </a:moveTo>
                <a:cubicBezTo>
                  <a:pt x="6144" y="2836"/>
                  <a:pt x="6301" y="2993"/>
                  <a:pt x="6301" y="3182"/>
                </a:cubicBezTo>
                <a:lnTo>
                  <a:pt x="6301" y="6616"/>
                </a:lnTo>
                <a:cubicBezTo>
                  <a:pt x="6301" y="6805"/>
                  <a:pt x="6459" y="6963"/>
                  <a:pt x="6648" y="6963"/>
                </a:cubicBezTo>
                <a:cubicBezTo>
                  <a:pt x="6837" y="6963"/>
                  <a:pt x="6994" y="6805"/>
                  <a:pt x="6994" y="6616"/>
                </a:cubicBezTo>
                <a:lnTo>
                  <a:pt x="6994" y="5230"/>
                </a:lnTo>
                <a:cubicBezTo>
                  <a:pt x="6994" y="5041"/>
                  <a:pt x="7152" y="4884"/>
                  <a:pt x="7372" y="4884"/>
                </a:cubicBezTo>
                <a:cubicBezTo>
                  <a:pt x="7561" y="4884"/>
                  <a:pt x="7719" y="5041"/>
                  <a:pt x="7719" y="5230"/>
                </a:cubicBezTo>
                <a:lnTo>
                  <a:pt x="7719" y="6616"/>
                </a:lnTo>
                <a:cubicBezTo>
                  <a:pt x="7719" y="6805"/>
                  <a:pt x="7876" y="6963"/>
                  <a:pt x="8066" y="6963"/>
                </a:cubicBezTo>
                <a:cubicBezTo>
                  <a:pt x="8255" y="6963"/>
                  <a:pt x="8412" y="6805"/>
                  <a:pt x="8412" y="6616"/>
                </a:cubicBezTo>
                <a:lnTo>
                  <a:pt x="8412" y="5230"/>
                </a:lnTo>
                <a:cubicBezTo>
                  <a:pt x="8412" y="5041"/>
                  <a:pt x="8570" y="4884"/>
                  <a:pt x="8790" y="4884"/>
                </a:cubicBezTo>
                <a:cubicBezTo>
                  <a:pt x="8979" y="4884"/>
                  <a:pt x="9137" y="5041"/>
                  <a:pt x="9137" y="5230"/>
                </a:cubicBezTo>
                <a:lnTo>
                  <a:pt x="9137" y="6616"/>
                </a:lnTo>
                <a:cubicBezTo>
                  <a:pt x="9137" y="6805"/>
                  <a:pt x="9294" y="6963"/>
                  <a:pt x="9483" y="6963"/>
                </a:cubicBezTo>
                <a:cubicBezTo>
                  <a:pt x="9672" y="6963"/>
                  <a:pt x="9830" y="6805"/>
                  <a:pt x="9830" y="6616"/>
                </a:cubicBezTo>
                <a:lnTo>
                  <a:pt x="9830" y="5955"/>
                </a:lnTo>
                <a:cubicBezTo>
                  <a:pt x="9704" y="5703"/>
                  <a:pt x="9861" y="5545"/>
                  <a:pt x="10019" y="5545"/>
                </a:cubicBezTo>
                <a:cubicBezTo>
                  <a:pt x="10239" y="5545"/>
                  <a:pt x="10397" y="5703"/>
                  <a:pt x="10397" y="5892"/>
                </a:cubicBezTo>
                <a:lnTo>
                  <a:pt x="10397" y="7057"/>
                </a:lnTo>
                <a:cubicBezTo>
                  <a:pt x="10397" y="8003"/>
                  <a:pt x="10176" y="8885"/>
                  <a:pt x="9830" y="9672"/>
                </a:cubicBezTo>
                <a:lnTo>
                  <a:pt x="6144" y="9672"/>
                </a:lnTo>
                <a:lnTo>
                  <a:pt x="3812" y="7372"/>
                </a:lnTo>
                <a:cubicBezTo>
                  <a:pt x="3686" y="7246"/>
                  <a:pt x="3686" y="6994"/>
                  <a:pt x="3812" y="6900"/>
                </a:cubicBezTo>
                <a:cubicBezTo>
                  <a:pt x="3875" y="6837"/>
                  <a:pt x="3962" y="6805"/>
                  <a:pt x="4049" y="6805"/>
                </a:cubicBezTo>
                <a:cubicBezTo>
                  <a:pt x="4135" y="6805"/>
                  <a:pt x="4222" y="6837"/>
                  <a:pt x="4285" y="6900"/>
                </a:cubicBezTo>
                <a:lnTo>
                  <a:pt x="5010" y="7593"/>
                </a:lnTo>
                <a:cubicBezTo>
                  <a:pt x="5075" y="7659"/>
                  <a:pt x="5163" y="7690"/>
                  <a:pt x="5251" y="7690"/>
                </a:cubicBezTo>
                <a:cubicBezTo>
                  <a:pt x="5415" y="7690"/>
                  <a:pt x="5577" y="7578"/>
                  <a:pt x="5577" y="7372"/>
                </a:cubicBezTo>
                <a:lnTo>
                  <a:pt x="5577" y="3182"/>
                </a:lnTo>
                <a:cubicBezTo>
                  <a:pt x="5577" y="2993"/>
                  <a:pt x="5734" y="2836"/>
                  <a:pt x="5955" y="2836"/>
                </a:cubicBezTo>
                <a:close/>
                <a:moveTo>
                  <a:pt x="9672" y="10302"/>
                </a:moveTo>
                <a:lnTo>
                  <a:pt x="9672" y="10680"/>
                </a:lnTo>
                <a:cubicBezTo>
                  <a:pt x="9704" y="10869"/>
                  <a:pt x="9546" y="11027"/>
                  <a:pt x="9357" y="11027"/>
                </a:cubicBezTo>
                <a:lnTo>
                  <a:pt x="6616" y="11027"/>
                </a:lnTo>
                <a:cubicBezTo>
                  <a:pt x="6396" y="11027"/>
                  <a:pt x="6238" y="10869"/>
                  <a:pt x="6238" y="10680"/>
                </a:cubicBezTo>
                <a:lnTo>
                  <a:pt x="6238" y="10302"/>
                </a:lnTo>
                <a:close/>
                <a:moveTo>
                  <a:pt x="347" y="0"/>
                </a:moveTo>
                <a:cubicBezTo>
                  <a:pt x="158" y="0"/>
                  <a:pt x="0" y="158"/>
                  <a:pt x="0" y="347"/>
                </a:cubicBezTo>
                <a:lnTo>
                  <a:pt x="0" y="1733"/>
                </a:lnTo>
                <a:cubicBezTo>
                  <a:pt x="0" y="1922"/>
                  <a:pt x="158" y="2080"/>
                  <a:pt x="347" y="2080"/>
                </a:cubicBezTo>
                <a:lnTo>
                  <a:pt x="693" y="2080"/>
                </a:lnTo>
                <a:lnTo>
                  <a:pt x="693" y="7593"/>
                </a:lnTo>
                <a:lnTo>
                  <a:pt x="347" y="7593"/>
                </a:lnTo>
                <a:cubicBezTo>
                  <a:pt x="158" y="7593"/>
                  <a:pt x="0" y="7751"/>
                  <a:pt x="0" y="7940"/>
                </a:cubicBezTo>
                <a:lnTo>
                  <a:pt x="0" y="9326"/>
                </a:lnTo>
                <a:cubicBezTo>
                  <a:pt x="0" y="9515"/>
                  <a:pt x="158" y="9672"/>
                  <a:pt x="347" y="9672"/>
                </a:cubicBezTo>
                <a:lnTo>
                  <a:pt x="1733" y="9672"/>
                </a:lnTo>
                <a:cubicBezTo>
                  <a:pt x="1922" y="9672"/>
                  <a:pt x="2080" y="9515"/>
                  <a:pt x="2080" y="9326"/>
                </a:cubicBezTo>
                <a:lnTo>
                  <a:pt x="2080" y="8979"/>
                </a:lnTo>
                <a:lnTo>
                  <a:pt x="4442" y="8979"/>
                </a:lnTo>
                <a:lnTo>
                  <a:pt x="5577" y="10113"/>
                </a:lnTo>
                <a:lnTo>
                  <a:pt x="5577" y="10712"/>
                </a:lnTo>
                <a:cubicBezTo>
                  <a:pt x="5577" y="11248"/>
                  <a:pt x="6049" y="11720"/>
                  <a:pt x="6616" y="11720"/>
                </a:cubicBezTo>
                <a:lnTo>
                  <a:pt x="9357" y="11720"/>
                </a:lnTo>
                <a:cubicBezTo>
                  <a:pt x="9924" y="11720"/>
                  <a:pt x="10397" y="11248"/>
                  <a:pt x="10397" y="10712"/>
                </a:cubicBezTo>
                <a:lnTo>
                  <a:pt x="10397" y="10113"/>
                </a:lnTo>
                <a:cubicBezTo>
                  <a:pt x="10806" y="9200"/>
                  <a:pt x="11058" y="8160"/>
                  <a:pt x="11058" y="7026"/>
                </a:cubicBezTo>
                <a:lnTo>
                  <a:pt x="11058" y="5892"/>
                </a:lnTo>
                <a:cubicBezTo>
                  <a:pt x="11058" y="5325"/>
                  <a:pt x="10617" y="4884"/>
                  <a:pt x="10019" y="4884"/>
                </a:cubicBezTo>
                <a:cubicBezTo>
                  <a:pt x="9924" y="4884"/>
                  <a:pt x="9767" y="4915"/>
                  <a:pt x="9641" y="4947"/>
                </a:cubicBezTo>
                <a:cubicBezTo>
                  <a:pt x="9546" y="4632"/>
                  <a:pt x="9326" y="4379"/>
                  <a:pt x="9011" y="4253"/>
                </a:cubicBezTo>
                <a:lnTo>
                  <a:pt x="9011" y="2080"/>
                </a:lnTo>
                <a:lnTo>
                  <a:pt x="9357" y="2080"/>
                </a:lnTo>
                <a:cubicBezTo>
                  <a:pt x="9546" y="2080"/>
                  <a:pt x="9735" y="1922"/>
                  <a:pt x="9735" y="1733"/>
                </a:cubicBezTo>
                <a:lnTo>
                  <a:pt x="9735" y="347"/>
                </a:lnTo>
                <a:cubicBezTo>
                  <a:pt x="9735" y="158"/>
                  <a:pt x="9546" y="0"/>
                  <a:pt x="9357" y="0"/>
                </a:cubicBezTo>
                <a:lnTo>
                  <a:pt x="7971" y="0"/>
                </a:lnTo>
                <a:cubicBezTo>
                  <a:pt x="7782" y="0"/>
                  <a:pt x="7624" y="158"/>
                  <a:pt x="7624" y="347"/>
                </a:cubicBezTo>
                <a:lnTo>
                  <a:pt x="7624" y="693"/>
                </a:lnTo>
                <a:lnTo>
                  <a:pt x="2080" y="693"/>
                </a:lnTo>
                <a:lnTo>
                  <a:pt x="2080" y="347"/>
                </a:lnTo>
                <a:cubicBezTo>
                  <a:pt x="2080" y="158"/>
                  <a:pt x="1922" y="0"/>
                  <a:pt x="1733" y="0"/>
                </a:cubicBezTo>
                <a:close/>
              </a:path>
            </a:pathLst>
          </a:custGeom>
          <a:solidFill>
            <a:srgbClr val="0D559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grpSp>
        <p:nvGrpSpPr>
          <p:cNvPr id="46" name="Google Shape;10022;p82">
            <a:extLst>
              <a:ext uri="{FF2B5EF4-FFF2-40B4-BE49-F238E27FC236}">
                <a16:creationId xmlns:a16="http://schemas.microsoft.com/office/drawing/2014/main" id="{A6350384-E026-494F-B83A-A6621E71BB42}"/>
              </a:ext>
            </a:extLst>
          </p:cNvPr>
          <p:cNvGrpSpPr/>
          <p:nvPr/>
        </p:nvGrpSpPr>
        <p:grpSpPr>
          <a:xfrm>
            <a:off x="2337336" y="5313063"/>
            <a:ext cx="856105" cy="772824"/>
            <a:chOff x="2141000" y="1954475"/>
            <a:chExt cx="296975" cy="296175"/>
          </a:xfrm>
          <a:solidFill>
            <a:srgbClr val="0D5592"/>
          </a:solidFill>
        </p:grpSpPr>
        <p:sp>
          <p:nvSpPr>
            <p:cNvPr id="47" name="Google Shape;10023;p82">
              <a:extLst>
                <a:ext uri="{FF2B5EF4-FFF2-40B4-BE49-F238E27FC236}">
                  <a16:creationId xmlns:a16="http://schemas.microsoft.com/office/drawing/2014/main" id="{94566024-49E6-44BB-B378-DDBF244840B5}"/>
                </a:ext>
              </a:extLst>
            </p:cNvPr>
            <p:cNvSpPr/>
            <p:nvPr/>
          </p:nvSpPr>
          <p:spPr>
            <a:xfrm>
              <a:off x="2280425" y="1989925"/>
              <a:ext cx="104775" cy="68550"/>
            </a:xfrm>
            <a:custGeom>
              <a:avLst/>
              <a:gdLst/>
              <a:ahLst/>
              <a:cxnLst/>
              <a:rect l="l" t="t" r="r" b="b"/>
              <a:pathLst>
                <a:path w="4191" h="2742" extrusionOk="0">
                  <a:moveTo>
                    <a:pt x="347" y="0"/>
                  </a:moveTo>
                  <a:cubicBezTo>
                    <a:pt x="158" y="0"/>
                    <a:pt x="0" y="158"/>
                    <a:pt x="0" y="347"/>
                  </a:cubicBezTo>
                  <a:cubicBezTo>
                    <a:pt x="0" y="505"/>
                    <a:pt x="158" y="662"/>
                    <a:pt x="315" y="662"/>
                  </a:cubicBezTo>
                  <a:lnTo>
                    <a:pt x="2426" y="662"/>
                  </a:lnTo>
                  <a:cubicBezTo>
                    <a:pt x="2615" y="662"/>
                    <a:pt x="2773" y="820"/>
                    <a:pt x="2773" y="1009"/>
                  </a:cubicBezTo>
                  <a:lnTo>
                    <a:pt x="2773" y="1576"/>
                  </a:lnTo>
                  <a:lnTo>
                    <a:pt x="2678" y="1450"/>
                  </a:lnTo>
                  <a:cubicBezTo>
                    <a:pt x="2615" y="1387"/>
                    <a:pt x="2521" y="1355"/>
                    <a:pt x="2430" y="1355"/>
                  </a:cubicBezTo>
                  <a:cubicBezTo>
                    <a:pt x="2340" y="1355"/>
                    <a:pt x="2253" y="1387"/>
                    <a:pt x="2206" y="1450"/>
                  </a:cubicBezTo>
                  <a:cubicBezTo>
                    <a:pt x="2080" y="1576"/>
                    <a:pt x="2080" y="1796"/>
                    <a:pt x="2206" y="1922"/>
                  </a:cubicBezTo>
                  <a:lnTo>
                    <a:pt x="2899" y="2647"/>
                  </a:lnTo>
                  <a:cubicBezTo>
                    <a:pt x="2993" y="2710"/>
                    <a:pt x="3056" y="2741"/>
                    <a:pt x="3151" y="2741"/>
                  </a:cubicBezTo>
                  <a:cubicBezTo>
                    <a:pt x="3214" y="2741"/>
                    <a:pt x="3340" y="2710"/>
                    <a:pt x="3371" y="2647"/>
                  </a:cubicBezTo>
                  <a:lnTo>
                    <a:pt x="4096" y="1922"/>
                  </a:lnTo>
                  <a:cubicBezTo>
                    <a:pt x="4191" y="1796"/>
                    <a:pt x="4191" y="1576"/>
                    <a:pt x="4096" y="1450"/>
                  </a:cubicBezTo>
                  <a:cubicBezTo>
                    <a:pt x="4033" y="1387"/>
                    <a:pt x="3938" y="1355"/>
                    <a:pt x="3848" y="1355"/>
                  </a:cubicBezTo>
                  <a:cubicBezTo>
                    <a:pt x="3757" y="1355"/>
                    <a:pt x="3671" y="1387"/>
                    <a:pt x="3623" y="1450"/>
                  </a:cubicBezTo>
                  <a:lnTo>
                    <a:pt x="3497" y="1576"/>
                  </a:lnTo>
                  <a:lnTo>
                    <a:pt x="3497" y="1009"/>
                  </a:lnTo>
                  <a:cubicBezTo>
                    <a:pt x="3497" y="442"/>
                    <a:pt x="3025" y="0"/>
                    <a:pt x="245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" name="Google Shape;10024;p82">
              <a:extLst>
                <a:ext uri="{FF2B5EF4-FFF2-40B4-BE49-F238E27FC236}">
                  <a16:creationId xmlns:a16="http://schemas.microsoft.com/office/drawing/2014/main" id="{7C5D42A8-0F78-4D2B-8BA3-D1E1E8EB5D6E}"/>
                </a:ext>
              </a:extLst>
            </p:cNvPr>
            <p:cNvSpPr/>
            <p:nvPr/>
          </p:nvSpPr>
          <p:spPr>
            <a:xfrm>
              <a:off x="2174875" y="2145875"/>
              <a:ext cx="105575" cy="69325"/>
            </a:xfrm>
            <a:custGeom>
              <a:avLst/>
              <a:gdLst/>
              <a:ahLst/>
              <a:cxnLst/>
              <a:rect l="l" t="t" r="r" b="b"/>
              <a:pathLst>
                <a:path w="4223" h="2773" extrusionOk="0">
                  <a:moveTo>
                    <a:pt x="1056" y="0"/>
                  </a:moveTo>
                  <a:cubicBezTo>
                    <a:pt x="969" y="0"/>
                    <a:pt x="883" y="32"/>
                    <a:pt x="820" y="95"/>
                  </a:cubicBezTo>
                  <a:lnTo>
                    <a:pt x="95" y="820"/>
                  </a:lnTo>
                  <a:cubicBezTo>
                    <a:pt x="1" y="914"/>
                    <a:pt x="1" y="1166"/>
                    <a:pt x="95" y="1292"/>
                  </a:cubicBezTo>
                  <a:cubicBezTo>
                    <a:pt x="158" y="1339"/>
                    <a:pt x="253" y="1363"/>
                    <a:pt x="343" y="1363"/>
                  </a:cubicBezTo>
                  <a:cubicBezTo>
                    <a:pt x="434" y="1363"/>
                    <a:pt x="521" y="1339"/>
                    <a:pt x="568" y="1292"/>
                  </a:cubicBezTo>
                  <a:lnTo>
                    <a:pt x="694" y="1166"/>
                  </a:lnTo>
                  <a:lnTo>
                    <a:pt x="694" y="1702"/>
                  </a:lnTo>
                  <a:cubicBezTo>
                    <a:pt x="757" y="2300"/>
                    <a:pt x="1229" y="2773"/>
                    <a:pt x="1765" y="2773"/>
                  </a:cubicBezTo>
                  <a:lnTo>
                    <a:pt x="3844" y="2773"/>
                  </a:lnTo>
                  <a:cubicBezTo>
                    <a:pt x="4065" y="2773"/>
                    <a:pt x="4222" y="2615"/>
                    <a:pt x="4222" y="2426"/>
                  </a:cubicBezTo>
                  <a:cubicBezTo>
                    <a:pt x="4222" y="2237"/>
                    <a:pt x="4065" y="2080"/>
                    <a:pt x="3844" y="2080"/>
                  </a:cubicBezTo>
                  <a:lnTo>
                    <a:pt x="1765" y="2080"/>
                  </a:lnTo>
                  <a:cubicBezTo>
                    <a:pt x="1576" y="2080"/>
                    <a:pt x="1418" y="1922"/>
                    <a:pt x="1418" y="1702"/>
                  </a:cubicBezTo>
                  <a:lnTo>
                    <a:pt x="1418" y="1166"/>
                  </a:lnTo>
                  <a:lnTo>
                    <a:pt x="1544" y="1292"/>
                  </a:lnTo>
                  <a:cubicBezTo>
                    <a:pt x="1592" y="1339"/>
                    <a:pt x="1678" y="1363"/>
                    <a:pt x="1769" y="1363"/>
                  </a:cubicBezTo>
                  <a:cubicBezTo>
                    <a:pt x="1859" y="1363"/>
                    <a:pt x="1954" y="1339"/>
                    <a:pt x="2017" y="1292"/>
                  </a:cubicBezTo>
                  <a:cubicBezTo>
                    <a:pt x="2112" y="1166"/>
                    <a:pt x="2112" y="914"/>
                    <a:pt x="2017" y="820"/>
                  </a:cubicBezTo>
                  <a:lnTo>
                    <a:pt x="1292" y="95"/>
                  </a:lnTo>
                  <a:cubicBezTo>
                    <a:pt x="1229" y="32"/>
                    <a:pt x="1143" y="0"/>
                    <a:pt x="105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" name="Google Shape;10025;p82">
              <a:extLst>
                <a:ext uri="{FF2B5EF4-FFF2-40B4-BE49-F238E27FC236}">
                  <a16:creationId xmlns:a16="http://schemas.microsoft.com/office/drawing/2014/main" id="{AD834929-26FC-4686-93B1-F396EB348AE4}"/>
                </a:ext>
              </a:extLst>
            </p:cNvPr>
            <p:cNvSpPr/>
            <p:nvPr/>
          </p:nvSpPr>
          <p:spPr>
            <a:xfrm>
              <a:off x="2141000" y="1954475"/>
              <a:ext cx="139450" cy="174100"/>
            </a:xfrm>
            <a:custGeom>
              <a:avLst/>
              <a:gdLst/>
              <a:ahLst/>
              <a:cxnLst/>
              <a:rect l="l" t="t" r="r" b="b"/>
              <a:pathLst>
                <a:path w="5578" h="6964" extrusionOk="0">
                  <a:moveTo>
                    <a:pt x="2773" y="694"/>
                  </a:moveTo>
                  <a:cubicBezTo>
                    <a:pt x="3372" y="694"/>
                    <a:pt x="3782" y="1166"/>
                    <a:pt x="3782" y="1734"/>
                  </a:cubicBezTo>
                  <a:cubicBezTo>
                    <a:pt x="3782" y="2301"/>
                    <a:pt x="3309" y="2742"/>
                    <a:pt x="2773" y="2742"/>
                  </a:cubicBezTo>
                  <a:cubicBezTo>
                    <a:pt x="2175" y="2742"/>
                    <a:pt x="1734" y="2269"/>
                    <a:pt x="1734" y="1734"/>
                  </a:cubicBezTo>
                  <a:cubicBezTo>
                    <a:pt x="1734" y="1166"/>
                    <a:pt x="2206" y="694"/>
                    <a:pt x="2773" y="694"/>
                  </a:cubicBezTo>
                  <a:close/>
                  <a:moveTo>
                    <a:pt x="2773" y="3466"/>
                  </a:moveTo>
                  <a:cubicBezTo>
                    <a:pt x="3908" y="3466"/>
                    <a:pt x="4853" y="4411"/>
                    <a:pt x="4853" y="5546"/>
                  </a:cubicBezTo>
                  <a:lnTo>
                    <a:pt x="4853" y="6270"/>
                  </a:lnTo>
                  <a:lnTo>
                    <a:pt x="694" y="6270"/>
                  </a:lnTo>
                  <a:lnTo>
                    <a:pt x="694" y="5546"/>
                  </a:lnTo>
                  <a:cubicBezTo>
                    <a:pt x="694" y="4411"/>
                    <a:pt x="1639" y="3466"/>
                    <a:pt x="2773" y="3466"/>
                  </a:cubicBezTo>
                  <a:close/>
                  <a:moveTo>
                    <a:pt x="2805" y="1"/>
                  </a:moveTo>
                  <a:cubicBezTo>
                    <a:pt x="1860" y="1"/>
                    <a:pt x="1072" y="788"/>
                    <a:pt x="1072" y="1734"/>
                  </a:cubicBezTo>
                  <a:cubicBezTo>
                    <a:pt x="1072" y="2238"/>
                    <a:pt x="1324" y="2710"/>
                    <a:pt x="1671" y="3025"/>
                  </a:cubicBezTo>
                  <a:cubicBezTo>
                    <a:pt x="726" y="3466"/>
                    <a:pt x="64" y="4443"/>
                    <a:pt x="64" y="5577"/>
                  </a:cubicBezTo>
                  <a:lnTo>
                    <a:pt x="64" y="6617"/>
                  </a:lnTo>
                  <a:cubicBezTo>
                    <a:pt x="1" y="6806"/>
                    <a:pt x="159" y="6963"/>
                    <a:pt x="379" y="6963"/>
                  </a:cubicBezTo>
                  <a:lnTo>
                    <a:pt x="5199" y="6963"/>
                  </a:lnTo>
                  <a:cubicBezTo>
                    <a:pt x="5420" y="6963"/>
                    <a:pt x="5577" y="6806"/>
                    <a:pt x="5577" y="6617"/>
                  </a:cubicBezTo>
                  <a:lnTo>
                    <a:pt x="5577" y="5577"/>
                  </a:lnTo>
                  <a:cubicBezTo>
                    <a:pt x="5577" y="4443"/>
                    <a:pt x="4884" y="3498"/>
                    <a:pt x="3939" y="3025"/>
                  </a:cubicBezTo>
                  <a:cubicBezTo>
                    <a:pt x="4317" y="2710"/>
                    <a:pt x="4538" y="2238"/>
                    <a:pt x="4538" y="1734"/>
                  </a:cubicBezTo>
                  <a:cubicBezTo>
                    <a:pt x="4538" y="788"/>
                    <a:pt x="3750" y="1"/>
                    <a:pt x="280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" name="Google Shape;10026;p82">
              <a:extLst>
                <a:ext uri="{FF2B5EF4-FFF2-40B4-BE49-F238E27FC236}">
                  <a16:creationId xmlns:a16="http://schemas.microsoft.com/office/drawing/2014/main" id="{BFBFE9E1-5D25-49B2-9711-B9495F269C5E}"/>
                </a:ext>
              </a:extLst>
            </p:cNvPr>
            <p:cNvSpPr/>
            <p:nvPr/>
          </p:nvSpPr>
          <p:spPr>
            <a:xfrm>
              <a:off x="2298525" y="2076550"/>
              <a:ext cx="139450" cy="174100"/>
            </a:xfrm>
            <a:custGeom>
              <a:avLst/>
              <a:gdLst/>
              <a:ahLst/>
              <a:cxnLst/>
              <a:rect l="l" t="t" r="r" b="b"/>
              <a:pathLst>
                <a:path w="5578" h="6964" extrusionOk="0">
                  <a:moveTo>
                    <a:pt x="2773" y="663"/>
                  </a:moveTo>
                  <a:cubicBezTo>
                    <a:pt x="3372" y="663"/>
                    <a:pt x="3782" y="1135"/>
                    <a:pt x="3782" y="1702"/>
                  </a:cubicBezTo>
                  <a:cubicBezTo>
                    <a:pt x="3782" y="2238"/>
                    <a:pt x="3309" y="2710"/>
                    <a:pt x="2773" y="2710"/>
                  </a:cubicBezTo>
                  <a:cubicBezTo>
                    <a:pt x="2175" y="2710"/>
                    <a:pt x="1734" y="2238"/>
                    <a:pt x="1734" y="1702"/>
                  </a:cubicBezTo>
                  <a:cubicBezTo>
                    <a:pt x="1734" y="1135"/>
                    <a:pt x="2175" y="663"/>
                    <a:pt x="2773" y="663"/>
                  </a:cubicBezTo>
                  <a:close/>
                  <a:moveTo>
                    <a:pt x="2773" y="3467"/>
                  </a:moveTo>
                  <a:cubicBezTo>
                    <a:pt x="3908" y="3467"/>
                    <a:pt x="4853" y="4412"/>
                    <a:pt x="4853" y="5546"/>
                  </a:cubicBezTo>
                  <a:lnTo>
                    <a:pt x="4853" y="6270"/>
                  </a:lnTo>
                  <a:lnTo>
                    <a:pt x="694" y="6270"/>
                  </a:lnTo>
                  <a:lnTo>
                    <a:pt x="694" y="5546"/>
                  </a:lnTo>
                  <a:cubicBezTo>
                    <a:pt x="694" y="4412"/>
                    <a:pt x="1639" y="3467"/>
                    <a:pt x="2773" y="3467"/>
                  </a:cubicBezTo>
                  <a:close/>
                  <a:moveTo>
                    <a:pt x="2773" y="1"/>
                  </a:moveTo>
                  <a:cubicBezTo>
                    <a:pt x="1828" y="1"/>
                    <a:pt x="1041" y="789"/>
                    <a:pt x="1041" y="1734"/>
                  </a:cubicBezTo>
                  <a:cubicBezTo>
                    <a:pt x="1041" y="2238"/>
                    <a:pt x="1261" y="2710"/>
                    <a:pt x="1608" y="3025"/>
                  </a:cubicBezTo>
                  <a:cubicBezTo>
                    <a:pt x="663" y="3467"/>
                    <a:pt x="1" y="4443"/>
                    <a:pt x="1" y="5546"/>
                  </a:cubicBezTo>
                  <a:lnTo>
                    <a:pt x="1" y="6617"/>
                  </a:lnTo>
                  <a:cubicBezTo>
                    <a:pt x="1" y="6806"/>
                    <a:pt x="159" y="6964"/>
                    <a:pt x="379" y="6964"/>
                  </a:cubicBezTo>
                  <a:lnTo>
                    <a:pt x="5199" y="6964"/>
                  </a:lnTo>
                  <a:cubicBezTo>
                    <a:pt x="5420" y="6964"/>
                    <a:pt x="5577" y="6806"/>
                    <a:pt x="5577" y="6617"/>
                  </a:cubicBezTo>
                  <a:lnTo>
                    <a:pt x="5577" y="5546"/>
                  </a:lnTo>
                  <a:cubicBezTo>
                    <a:pt x="5514" y="4412"/>
                    <a:pt x="4853" y="3467"/>
                    <a:pt x="3908" y="3025"/>
                  </a:cubicBezTo>
                  <a:cubicBezTo>
                    <a:pt x="4254" y="2710"/>
                    <a:pt x="4506" y="2238"/>
                    <a:pt x="4506" y="1734"/>
                  </a:cubicBezTo>
                  <a:cubicBezTo>
                    <a:pt x="4506" y="789"/>
                    <a:pt x="3719" y="1"/>
                    <a:pt x="277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51" name="CaixaDeTexto 32">
            <a:extLst>
              <a:ext uri="{FF2B5EF4-FFF2-40B4-BE49-F238E27FC236}">
                <a16:creationId xmlns:a16="http://schemas.microsoft.com/office/drawing/2014/main" id="{E4D85695-DB27-431A-8AFB-1ADE7F1517BF}"/>
              </a:ext>
            </a:extLst>
          </p:cNvPr>
          <p:cNvSpPr txBox="1"/>
          <p:nvPr/>
        </p:nvSpPr>
        <p:spPr>
          <a:xfrm>
            <a:off x="4377725" y="2185705"/>
            <a:ext cx="379130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¿Podemos </a:t>
            </a:r>
            <a:r>
              <a:rPr lang="en-US" sz="16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finir</a:t>
            </a:r>
            <a:r>
              <a:rPr lang="en-US" sz="1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laramente</a:t>
            </a:r>
            <a:r>
              <a:rPr lang="en-US" sz="1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n</a:t>
            </a:r>
            <a:r>
              <a:rPr lang="en-US" sz="1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ta</a:t>
            </a:r>
            <a:r>
              <a:rPr lang="en-US" sz="1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iciativa</a:t>
            </a:r>
            <a:r>
              <a:rPr lang="en-US" sz="1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l</a:t>
            </a:r>
            <a:r>
              <a:rPr lang="en-US" sz="1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valor para </a:t>
            </a:r>
            <a:r>
              <a:rPr lang="en-US" sz="16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l</a:t>
            </a:r>
            <a:r>
              <a:rPr lang="en-US" sz="1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egocio</a:t>
            </a:r>
            <a:r>
              <a:rPr lang="en-US" sz="1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?</a:t>
            </a:r>
            <a:endParaRPr kumimoji="0" lang="pt-BR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52" name="CaixaDeTexto 32">
            <a:extLst>
              <a:ext uri="{FF2B5EF4-FFF2-40B4-BE49-F238E27FC236}">
                <a16:creationId xmlns:a16="http://schemas.microsoft.com/office/drawing/2014/main" id="{ED41F8E8-CD10-4F40-9ABB-02466DDAA10E}"/>
              </a:ext>
            </a:extLst>
          </p:cNvPr>
          <p:cNvSpPr txBox="1"/>
          <p:nvPr/>
        </p:nvSpPr>
        <p:spPr>
          <a:xfrm>
            <a:off x="4377725" y="3999480"/>
            <a:ext cx="379130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¿Podemos </a:t>
            </a:r>
            <a:r>
              <a:rPr lang="en-US" sz="16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hacerlo</a:t>
            </a:r>
            <a:r>
              <a:rPr lang="en-US" sz="1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?¿Se </a:t>
            </a:r>
            <a:r>
              <a:rPr lang="en-US" sz="16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justifica</a:t>
            </a:r>
            <a:r>
              <a:rPr lang="en-US" sz="1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levarlo</a:t>
            </a:r>
            <a:r>
              <a:rPr lang="en-US" sz="1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cabo</a:t>
            </a:r>
            <a:r>
              <a:rPr lang="en-US" sz="1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?</a:t>
            </a:r>
            <a:endParaRPr kumimoji="0" lang="pt-BR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53" name="CaixaDeTexto 32">
            <a:extLst>
              <a:ext uri="{FF2B5EF4-FFF2-40B4-BE49-F238E27FC236}">
                <a16:creationId xmlns:a16="http://schemas.microsoft.com/office/drawing/2014/main" id="{65EA1DBD-17C9-4BD5-A27D-2485C64139C2}"/>
              </a:ext>
            </a:extLst>
          </p:cNvPr>
          <p:cNvSpPr txBox="1"/>
          <p:nvPr/>
        </p:nvSpPr>
        <p:spPr>
          <a:xfrm>
            <a:off x="4349251" y="5608413"/>
            <a:ext cx="379130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¿</a:t>
            </a:r>
            <a:r>
              <a:rPr lang="en-US" sz="16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amos</a:t>
            </a:r>
            <a:r>
              <a:rPr lang="en-US" sz="1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con los </a:t>
            </a:r>
            <a:r>
              <a:rPr lang="en-US" sz="16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cursos</a:t>
            </a:r>
            <a:r>
              <a:rPr lang="en-US" sz="1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decuados</a:t>
            </a:r>
            <a:r>
              <a:rPr lang="en-US" sz="1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para </a:t>
            </a:r>
            <a:r>
              <a:rPr lang="en-US" sz="16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hacer</a:t>
            </a:r>
            <a:r>
              <a:rPr lang="en-US" sz="1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de </a:t>
            </a:r>
            <a:r>
              <a:rPr lang="en-US" sz="16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ta</a:t>
            </a:r>
            <a:r>
              <a:rPr lang="en-US" sz="1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iciativa</a:t>
            </a:r>
            <a:r>
              <a:rPr lang="en-US" sz="1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un </a:t>
            </a:r>
            <a:r>
              <a:rPr lang="en-US" sz="16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xito</a:t>
            </a:r>
            <a:r>
              <a:rPr lang="en-US" sz="1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?</a:t>
            </a:r>
            <a:endParaRPr kumimoji="0" lang="pt-BR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54" name="CaixaDeTexto 32">
            <a:extLst>
              <a:ext uri="{FF2B5EF4-FFF2-40B4-BE49-F238E27FC236}">
                <a16:creationId xmlns:a16="http://schemas.microsoft.com/office/drawing/2014/main" id="{DAB11EEA-CF17-4AFF-A122-63D1E08FFD69}"/>
              </a:ext>
            </a:extLst>
          </p:cNvPr>
          <p:cNvSpPr txBox="1"/>
          <p:nvPr/>
        </p:nvSpPr>
        <p:spPr>
          <a:xfrm>
            <a:off x="9296232" y="1260718"/>
            <a:ext cx="552618" cy="596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1</a:t>
            </a:r>
            <a:endParaRPr kumimoji="0" lang="pt-BR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55" name="CaixaDeTexto 32">
            <a:extLst>
              <a:ext uri="{FF2B5EF4-FFF2-40B4-BE49-F238E27FC236}">
                <a16:creationId xmlns:a16="http://schemas.microsoft.com/office/drawing/2014/main" id="{96E1774F-2ABE-4876-BF7B-8AD237BF5985}"/>
              </a:ext>
            </a:extLst>
          </p:cNvPr>
          <p:cNvSpPr txBox="1"/>
          <p:nvPr/>
        </p:nvSpPr>
        <p:spPr>
          <a:xfrm>
            <a:off x="9694997" y="3018666"/>
            <a:ext cx="552618" cy="596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2</a:t>
            </a:r>
            <a:endParaRPr kumimoji="0" lang="pt-BR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56" name="CaixaDeTexto 32">
            <a:extLst>
              <a:ext uri="{FF2B5EF4-FFF2-40B4-BE49-F238E27FC236}">
                <a16:creationId xmlns:a16="http://schemas.microsoft.com/office/drawing/2014/main" id="{90ED835E-1FC2-48CD-A275-E027A1DC28EF}"/>
              </a:ext>
            </a:extLst>
          </p:cNvPr>
          <p:cNvSpPr txBox="1"/>
          <p:nvPr/>
        </p:nvSpPr>
        <p:spPr>
          <a:xfrm>
            <a:off x="9941446" y="4597587"/>
            <a:ext cx="552618" cy="596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32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3</a:t>
            </a:r>
            <a:endParaRPr kumimoji="0" lang="pt-BR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9943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to 4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2" name="Slide do think-cell" r:id="rId6" imgW="270" imgH="270" progId="TCLayout.ActiveDocument.1">
                  <p:embed/>
                </p:oleObj>
              </mc:Choice>
              <mc:Fallback>
                <p:oleObj name="Slide do think-cell" r:id="rId6" imgW="270" imgH="270" progId="TCLayout.ActiveDocument.1">
                  <p:embed/>
                  <p:pic>
                    <p:nvPicPr>
                      <p:cNvPr id="49" name="Objeto 4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Retângulo 4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US" sz="16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162790" y="0"/>
            <a:ext cx="8467110" cy="540000"/>
          </a:xfrm>
        </p:spPr>
        <p:txBody>
          <a:bodyPr vert="horz" anchor="ctr">
            <a:normAutofit/>
          </a:bodyPr>
          <a:lstStyle/>
          <a:p>
            <a:r>
              <a:rPr lang="es-ES" sz="1800" dirty="0"/>
              <a:t>¿Qué pruebas identificarías para asegurar la calidad de estos datos?</a:t>
            </a:r>
            <a:endParaRPr lang="en-US" sz="1800" dirty="0"/>
          </a:p>
        </p:txBody>
      </p:sp>
      <p:sp>
        <p:nvSpPr>
          <p:cNvPr id="57" name="Retângulo 50">
            <a:extLst>
              <a:ext uri="{FF2B5EF4-FFF2-40B4-BE49-F238E27FC236}">
                <a16:creationId xmlns:a16="http://schemas.microsoft.com/office/drawing/2014/main" id="{1B8D716F-5E01-4E3D-ADAF-72435BED8FA3}"/>
              </a:ext>
            </a:extLst>
          </p:cNvPr>
          <p:cNvSpPr/>
          <p:nvPr/>
        </p:nvSpPr>
        <p:spPr>
          <a:xfrm>
            <a:off x="581336" y="753326"/>
            <a:ext cx="10848663" cy="5675466"/>
          </a:xfrm>
          <a:prstGeom prst="rect">
            <a:avLst/>
          </a:prstGeom>
          <a:noFill/>
          <a:ln w="50800" cap="flat" cmpd="sng" algn="ctr">
            <a:solidFill>
              <a:srgbClr val="595959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60" name="Google Shape;813;p64">
            <a:extLst>
              <a:ext uri="{FF2B5EF4-FFF2-40B4-BE49-F238E27FC236}">
                <a16:creationId xmlns:a16="http://schemas.microsoft.com/office/drawing/2014/main" id="{544B8917-C575-4AD5-A9B4-CB7AFF2A64D2}"/>
              </a:ext>
            </a:extLst>
          </p:cNvPr>
          <p:cNvSpPr txBox="1">
            <a:spLocks/>
          </p:cNvSpPr>
          <p:nvPr/>
        </p:nvSpPr>
        <p:spPr>
          <a:xfrm>
            <a:off x="1252025" y="858417"/>
            <a:ext cx="8667721" cy="5426064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50000"/>
              </a:lnSpc>
              <a:spcBef>
                <a:spcPts val="0"/>
              </a:spcBef>
              <a:buFont typeface="+mj-lt"/>
              <a:buAutoNum type="arabicPeriod"/>
            </a:pPr>
            <a:r>
              <a:rPr lang="en-US" sz="1400" dirty="0" err="1">
                <a:solidFill>
                  <a:schemeClr val="dk1"/>
                </a:solidFill>
              </a:rPr>
              <a:t>Pruebas</a:t>
            </a:r>
            <a:r>
              <a:rPr lang="en-US" sz="1400" dirty="0">
                <a:solidFill>
                  <a:schemeClr val="dk1"/>
                </a:solidFill>
              </a:rPr>
              <a:t> de </a:t>
            </a:r>
            <a:r>
              <a:rPr lang="en-US" sz="1400" dirty="0" err="1">
                <a:solidFill>
                  <a:schemeClr val="dk1"/>
                </a:solidFill>
              </a:rPr>
              <a:t>Complitud</a:t>
            </a:r>
            <a:r>
              <a:rPr lang="en-US" sz="1400" dirty="0">
                <a:solidFill>
                  <a:schemeClr val="dk1"/>
                </a:solidFill>
              </a:rPr>
              <a:t>, para </a:t>
            </a:r>
            <a:r>
              <a:rPr lang="en-US" sz="1400" dirty="0" err="1">
                <a:solidFill>
                  <a:schemeClr val="dk1"/>
                </a:solidFill>
              </a:rPr>
              <a:t>asegurar</a:t>
            </a:r>
            <a:r>
              <a:rPr lang="en-US" sz="1400" dirty="0">
                <a:solidFill>
                  <a:schemeClr val="dk1"/>
                </a:solidFill>
              </a:rPr>
              <a:t> que </a:t>
            </a:r>
            <a:r>
              <a:rPr lang="en-US" sz="1400" dirty="0" err="1">
                <a:solidFill>
                  <a:schemeClr val="dk1"/>
                </a:solidFill>
              </a:rPr>
              <a:t>cada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registro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tenga</a:t>
            </a:r>
            <a:r>
              <a:rPr lang="en-US" sz="1400" dirty="0">
                <a:solidFill>
                  <a:schemeClr val="dk1"/>
                </a:solidFill>
              </a:rPr>
              <a:t> los </a:t>
            </a:r>
            <a:r>
              <a:rPr lang="en-US" sz="1400" dirty="0" err="1">
                <a:solidFill>
                  <a:schemeClr val="dk1"/>
                </a:solidFill>
              </a:rPr>
              <a:t>datos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minimos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necesarios</a:t>
            </a:r>
            <a:r>
              <a:rPr lang="en-US" sz="1400" dirty="0">
                <a:solidFill>
                  <a:schemeClr val="dk1"/>
                </a:solidFill>
              </a:rPr>
              <a:t> para el </a:t>
            </a:r>
            <a:r>
              <a:rPr lang="en-US" sz="1400" dirty="0" err="1">
                <a:solidFill>
                  <a:schemeClr val="dk1"/>
                </a:solidFill>
              </a:rPr>
              <a:t>análisis</a:t>
            </a:r>
            <a:r>
              <a:rPr lang="en-US" sz="1400" dirty="0">
                <a:solidFill>
                  <a:schemeClr val="dk1"/>
                </a:solidFill>
              </a:rPr>
              <a:t>, es </a:t>
            </a:r>
            <a:r>
              <a:rPr lang="en-US" sz="1400" dirty="0" err="1">
                <a:solidFill>
                  <a:schemeClr val="dk1"/>
                </a:solidFill>
              </a:rPr>
              <a:t>decir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pordemos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tener</a:t>
            </a:r>
            <a:r>
              <a:rPr lang="en-US" sz="1400" dirty="0">
                <a:solidFill>
                  <a:schemeClr val="dk1"/>
                </a:solidFill>
              </a:rPr>
              <a:t> la </a:t>
            </a:r>
            <a:r>
              <a:rPr lang="en-US" sz="1400" dirty="0" err="1">
                <a:solidFill>
                  <a:schemeClr val="dk1"/>
                </a:solidFill>
              </a:rPr>
              <a:t>Alcaldía</a:t>
            </a:r>
            <a:r>
              <a:rPr lang="en-US" sz="1400" dirty="0">
                <a:solidFill>
                  <a:schemeClr val="dk1"/>
                </a:solidFill>
              </a:rPr>
              <a:t> y la </a:t>
            </a:r>
            <a:r>
              <a:rPr lang="en-US" sz="1400" dirty="0" err="1">
                <a:solidFill>
                  <a:schemeClr val="dk1"/>
                </a:solidFill>
              </a:rPr>
              <a:t>Categoría</a:t>
            </a:r>
            <a:r>
              <a:rPr lang="en-US" sz="1400" dirty="0">
                <a:solidFill>
                  <a:schemeClr val="dk1"/>
                </a:solidFill>
              </a:rPr>
              <a:t> del </a:t>
            </a:r>
            <a:r>
              <a:rPr lang="en-US" sz="1400" dirty="0" err="1">
                <a:solidFill>
                  <a:schemeClr val="dk1"/>
                </a:solidFill>
              </a:rPr>
              <a:t>Delito</a:t>
            </a:r>
            <a:r>
              <a:rPr lang="en-US" sz="1400" dirty="0">
                <a:solidFill>
                  <a:schemeClr val="dk1"/>
                </a:solidFill>
              </a:rPr>
              <a:t>, </a:t>
            </a:r>
            <a:r>
              <a:rPr lang="en-US" sz="1400" dirty="0" err="1">
                <a:solidFill>
                  <a:schemeClr val="dk1"/>
                </a:solidFill>
              </a:rPr>
              <a:t>pero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si</a:t>
            </a:r>
            <a:r>
              <a:rPr lang="en-US" sz="1400" dirty="0">
                <a:solidFill>
                  <a:schemeClr val="dk1"/>
                </a:solidFill>
              </a:rPr>
              <a:t> no temenos el </a:t>
            </a:r>
            <a:r>
              <a:rPr lang="en-US" sz="1400" dirty="0" err="1">
                <a:solidFill>
                  <a:schemeClr val="dk1"/>
                </a:solidFill>
              </a:rPr>
              <a:t>delito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como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tal</a:t>
            </a:r>
            <a:r>
              <a:rPr lang="en-US" sz="1400" dirty="0">
                <a:solidFill>
                  <a:schemeClr val="dk1"/>
                </a:solidFill>
              </a:rPr>
              <a:t>, </a:t>
            </a:r>
            <a:r>
              <a:rPr lang="en-US" sz="1400" dirty="0" err="1">
                <a:solidFill>
                  <a:schemeClr val="dk1"/>
                </a:solidFill>
              </a:rPr>
              <a:t>este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registro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tendría</a:t>
            </a:r>
            <a:r>
              <a:rPr lang="en-US" sz="1400" dirty="0">
                <a:solidFill>
                  <a:schemeClr val="dk1"/>
                </a:solidFill>
              </a:rPr>
              <a:t> que ser </a:t>
            </a:r>
            <a:r>
              <a:rPr lang="en-US" sz="1400" dirty="0" err="1">
                <a:solidFill>
                  <a:schemeClr val="dk1"/>
                </a:solidFill>
              </a:rPr>
              <a:t>eliminado</a:t>
            </a:r>
            <a:r>
              <a:rPr lang="en-US" sz="1400" dirty="0">
                <a:solidFill>
                  <a:schemeClr val="dk1"/>
                </a:solidFill>
              </a:rPr>
              <a:t> para un </a:t>
            </a:r>
            <a:r>
              <a:rPr lang="en-US" sz="1400" dirty="0" err="1">
                <a:solidFill>
                  <a:schemeClr val="dk1"/>
                </a:solidFill>
              </a:rPr>
              <a:t>análisis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minucioso</a:t>
            </a:r>
            <a:r>
              <a:rPr lang="en-US" sz="1400" dirty="0">
                <a:solidFill>
                  <a:schemeClr val="dk1"/>
                </a:solidFill>
              </a:rPr>
              <a:t>.</a:t>
            </a:r>
          </a:p>
          <a:p>
            <a:pPr marL="342900" indent="-342900">
              <a:lnSpc>
                <a:spcPct val="150000"/>
              </a:lnSpc>
              <a:spcBef>
                <a:spcPts val="0"/>
              </a:spcBef>
              <a:buFont typeface="+mj-lt"/>
              <a:buAutoNum type="arabicPeriod"/>
            </a:pPr>
            <a:r>
              <a:rPr lang="en-US" sz="1400" dirty="0" err="1">
                <a:solidFill>
                  <a:schemeClr val="dk1"/>
                </a:solidFill>
              </a:rPr>
              <a:t>Pruebas</a:t>
            </a:r>
            <a:r>
              <a:rPr lang="en-US" sz="1400" dirty="0">
                <a:solidFill>
                  <a:schemeClr val="dk1"/>
                </a:solidFill>
              </a:rPr>
              <a:t> de </a:t>
            </a:r>
            <a:r>
              <a:rPr lang="en-US" sz="1400" dirty="0" err="1">
                <a:solidFill>
                  <a:schemeClr val="dk1"/>
                </a:solidFill>
              </a:rPr>
              <a:t>validez</a:t>
            </a:r>
            <a:r>
              <a:rPr lang="en-US" sz="1400" dirty="0">
                <a:solidFill>
                  <a:schemeClr val="dk1"/>
                </a:solidFill>
              </a:rPr>
              <a:t>, para </a:t>
            </a:r>
            <a:r>
              <a:rPr lang="en-US" sz="1400" dirty="0" err="1">
                <a:solidFill>
                  <a:schemeClr val="dk1"/>
                </a:solidFill>
              </a:rPr>
              <a:t>segurar</a:t>
            </a:r>
            <a:r>
              <a:rPr lang="en-US" sz="1400" dirty="0">
                <a:solidFill>
                  <a:schemeClr val="dk1"/>
                </a:solidFill>
              </a:rPr>
              <a:t> que los </a:t>
            </a:r>
            <a:r>
              <a:rPr lang="en-US" sz="1400" dirty="0" err="1">
                <a:solidFill>
                  <a:schemeClr val="dk1"/>
                </a:solidFill>
              </a:rPr>
              <a:t>valores</a:t>
            </a:r>
            <a:r>
              <a:rPr lang="en-US" sz="1400" dirty="0">
                <a:solidFill>
                  <a:schemeClr val="dk1"/>
                </a:solidFill>
              </a:rPr>
              <a:t> de </a:t>
            </a:r>
            <a:r>
              <a:rPr lang="en-US" sz="1400" dirty="0" err="1">
                <a:solidFill>
                  <a:schemeClr val="dk1"/>
                </a:solidFill>
              </a:rPr>
              <a:t>cada</a:t>
            </a:r>
            <a:r>
              <a:rPr lang="en-US" sz="1400" dirty="0">
                <a:solidFill>
                  <a:schemeClr val="dk1"/>
                </a:solidFill>
              </a:rPr>
              <a:t> campo </a:t>
            </a:r>
            <a:r>
              <a:rPr lang="en-US" sz="1400" dirty="0" err="1">
                <a:solidFill>
                  <a:schemeClr val="dk1"/>
                </a:solidFill>
              </a:rPr>
              <a:t>sean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consecuentes</a:t>
            </a:r>
            <a:r>
              <a:rPr lang="en-US" sz="1400" dirty="0">
                <a:solidFill>
                  <a:schemeClr val="dk1"/>
                </a:solidFill>
              </a:rPr>
              <a:t>. Es </a:t>
            </a:r>
            <a:r>
              <a:rPr lang="en-US" sz="1400" dirty="0" err="1">
                <a:solidFill>
                  <a:schemeClr val="dk1"/>
                </a:solidFill>
              </a:rPr>
              <a:t>decir</a:t>
            </a:r>
            <a:r>
              <a:rPr lang="en-US" sz="1400" dirty="0">
                <a:solidFill>
                  <a:schemeClr val="dk1"/>
                </a:solidFill>
              </a:rPr>
              <a:t>, </a:t>
            </a:r>
            <a:r>
              <a:rPr lang="en-US" sz="1400" dirty="0" err="1">
                <a:solidFill>
                  <a:schemeClr val="dk1"/>
                </a:solidFill>
              </a:rPr>
              <a:t>edades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positivas</a:t>
            </a:r>
            <a:r>
              <a:rPr lang="en-US" sz="1400" dirty="0">
                <a:solidFill>
                  <a:schemeClr val="dk1"/>
                </a:solidFill>
              </a:rPr>
              <a:t>, </a:t>
            </a:r>
            <a:r>
              <a:rPr lang="en-US" sz="1400" dirty="0" err="1">
                <a:solidFill>
                  <a:schemeClr val="dk1"/>
                </a:solidFill>
              </a:rPr>
              <a:t>si</a:t>
            </a:r>
            <a:r>
              <a:rPr lang="en-US" sz="1400" dirty="0">
                <a:solidFill>
                  <a:schemeClr val="dk1"/>
                </a:solidFill>
              </a:rPr>
              <a:t> son </a:t>
            </a:r>
            <a:r>
              <a:rPr lang="en-US" sz="1400" dirty="0" err="1">
                <a:solidFill>
                  <a:schemeClr val="dk1"/>
                </a:solidFill>
              </a:rPr>
              <a:t>datos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históricos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deberían</a:t>
            </a:r>
            <a:r>
              <a:rPr lang="en-US" sz="1400" dirty="0">
                <a:solidFill>
                  <a:schemeClr val="dk1"/>
                </a:solidFill>
              </a:rPr>
              <a:t> ser </a:t>
            </a:r>
            <a:r>
              <a:rPr lang="en-US" sz="1400" dirty="0" err="1">
                <a:solidFill>
                  <a:schemeClr val="dk1"/>
                </a:solidFill>
              </a:rPr>
              <a:t>máximo</a:t>
            </a:r>
            <a:r>
              <a:rPr lang="en-US" sz="1400" dirty="0">
                <a:solidFill>
                  <a:schemeClr val="dk1"/>
                </a:solidFill>
              </a:rPr>
              <a:t> del </a:t>
            </a:r>
            <a:r>
              <a:rPr lang="en-US" sz="1400" dirty="0" err="1">
                <a:solidFill>
                  <a:schemeClr val="dk1"/>
                </a:solidFill>
              </a:rPr>
              <a:t>año</a:t>
            </a:r>
            <a:r>
              <a:rPr lang="en-US" sz="1400" dirty="0">
                <a:solidFill>
                  <a:schemeClr val="dk1"/>
                </a:solidFill>
              </a:rPr>
              <a:t> 2021, las </a:t>
            </a:r>
            <a:r>
              <a:rPr lang="en-US" sz="1400" dirty="0" err="1">
                <a:solidFill>
                  <a:schemeClr val="dk1"/>
                </a:solidFill>
              </a:rPr>
              <a:t>ubicaciones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geográficas</a:t>
            </a:r>
            <a:r>
              <a:rPr lang="en-US" sz="1400" dirty="0">
                <a:solidFill>
                  <a:schemeClr val="dk1"/>
                </a:solidFill>
              </a:rPr>
              <a:t> que </a:t>
            </a:r>
            <a:r>
              <a:rPr lang="en-US" sz="1400" dirty="0" err="1">
                <a:solidFill>
                  <a:schemeClr val="dk1"/>
                </a:solidFill>
              </a:rPr>
              <a:t>correspondan</a:t>
            </a:r>
            <a:r>
              <a:rPr lang="en-US" sz="1400" dirty="0">
                <a:solidFill>
                  <a:schemeClr val="dk1"/>
                </a:solidFill>
              </a:rPr>
              <a:t> a la </a:t>
            </a:r>
            <a:r>
              <a:rPr lang="en-US" sz="1400" dirty="0" err="1">
                <a:solidFill>
                  <a:schemeClr val="dk1"/>
                </a:solidFill>
              </a:rPr>
              <a:t>alcaldía</a:t>
            </a:r>
            <a:r>
              <a:rPr lang="en-US" sz="1400" dirty="0">
                <a:solidFill>
                  <a:schemeClr val="dk1"/>
                </a:solidFill>
              </a:rPr>
              <a:t>.</a:t>
            </a:r>
          </a:p>
          <a:p>
            <a:pPr marL="342900" indent="-342900">
              <a:lnSpc>
                <a:spcPct val="150000"/>
              </a:lnSpc>
              <a:spcBef>
                <a:spcPts val="0"/>
              </a:spcBef>
              <a:buFont typeface="+mj-lt"/>
              <a:buAutoNum type="arabicPeriod"/>
            </a:pPr>
            <a:r>
              <a:rPr lang="en-US" sz="1400" dirty="0" err="1">
                <a:solidFill>
                  <a:schemeClr val="dk1"/>
                </a:solidFill>
              </a:rPr>
              <a:t>Pruebas</a:t>
            </a:r>
            <a:r>
              <a:rPr lang="en-US" sz="1400" dirty="0">
                <a:solidFill>
                  <a:schemeClr val="dk1"/>
                </a:solidFill>
              </a:rPr>
              <a:t> de </a:t>
            </a:r>
            <a:r>
              <a:rPr lang="en-US" sz="1400" dirty="0" err="1">
                <a:solidFill>
                  <a:schemeClr val="dk1"/>
                </a:solidFill>
              </a:rPr>
              <a:t>coherencia</a:t>
            </a:r>
            <a:r>
              <a:rPr lang="en-US" sz="1400" dirty="0">
                <a:solidFill>
                  <a:schemeClr val="dk1"/>
                </a:solidFill>
              </a:rPr>
              <a:t>, para </a:t>
            </a:r>
            <a:r>
              <a:rPr lang="en-US" sz="1400" dirty="0" err="1">
                <a:solidFill>
                  <a:schemeClr val="dk1"/>
                </a:solidFill>
              </a:rPr>
              <a:t>asegurar</a:t>
            </a:r>
            <a:r>
              <a:rPr lang="en-US" sz="1400" dirty="0">
                <a:solidFill>
                  <a:schemeClr val="dk1"/>
                </a:solidFill>
              </a:rPr>
              <a:t> la </a:t>
            </a:r>
            <a:r>
              <a:rPr lang="en-US" sz="1400" dirty="0" err="1">
                <a:solidFill>
                  <a:schemeClr val="dk1"/>
                </a:solidFill>
              </a:rPr>
              <a:t>calidad</a:t>
            </a:r>
            <a:r>
              <a:rPr lang="en-US" sz="1400" dirty="0">
                <a:solidFill>
                  <a:schemeClr val="dk1"/>
                </a:solidFill>
              </a:rPr>
              <a:t> de los </a:t>
            </a:r>
            <a:r>
              <a:rPr lang="en-US" sz="1400" dirty="0" err="1">
                <a:solidFill>
                  <a:schemeClr val="dk1"/>
                </a:solidFill>
              </a:rPr>
              <a:t>datos</a:t>
            </a:r>
            <a:r>
              <a:rPr lang="en-US" sz="1400" dirty="0">
                <a:solidFill>
                  <a:schemeClr val="dk1"/>
                </a:solidFill>
              </a:rPr>
              <a:t> se require que los </a:t>
            </a:r>
            <a:r>
              <a:rPr lang="en-US" sz="1400" dirty="0" err="1">
                <a:solidFill>
                  <a:schemeClr val="dk1"/>
                </a:solidFill>
              </a:rPr>
              <a:t>campos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contenga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información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acorde</a:t>
            </a:r>
            <a:r>
              <a:rPr lang="en-US" sz="1400" dirty="0">
                <a:solidFill>
                  <a:schemeClr val="dk1"/>
                </a:solidFill>
              </a:rPr>
              <a:t> a ese campo. Es </a:t>
            </a:r>
            <a:r>
              <a:rPr lang="en-US" sz="1400" dirty="0" err="1">
                <a:solidFill>
                  <a:schemeClr val="dk1"/>
                </a:solidFill>
              </a:rPr>
              <a:t>decir</a:t>
            </a:r>
            <a:r>
              <a:rPr lang="en-US" sz="1400" dirty="0">
                <a:solidFill>
                  <a:schemeClr val="dk1"/>
                </a:solidFill>
              </a:rPr>
              <a:t>, que </a:t>
            </a:r>
            <a:r>
              <a:rPr lang="en-US" sz="1400" dirty="0" err="1">
                <a:solidFill>
                  <a:schemeClr val="dk1"/>
                </a:solidFill>
              </a:rPr>
              <a:t>Alcaldía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tenga</a:t>
            </a:r>
            <a:r>
              <a:rPr lang="en-US" sz="1400" dirty="0">
                <a:solidFill>
                  <a:schemeClr val="dk1"/>
                </a:solidFill>
              </a:rPr>
              <a:t> solo </a:t>
            </a:r>
            <a:r>
              <a:rPr lang="en-US" sz="1400" dirty="0" err="1">
                <a:solidFill>
                  <a:schemeClr val="dk1"/>
                </a:solidFill>
              </a:rPr>
              <a:t>alcaldías</a:t>
            </a:r>
            <a:r>
              <a:rPr lang="en-US" sz="1400" dirty="0">
                <a:solidFill>
                  <a:schemeClr val="dk1"/>
                </a:solidFill>
              </a:rPr>
              <a:t> y no </a:t>
            </a:r>
            <a:r>
              <a:rPr lang="en-US" sz="1400" dirty="0" err="1">
                <a:solidFill>
                  <a:schemeClr val="dk1"/>
                </a:solidFill>
              </a:rPr>
              <a:t>otra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información</a:t>
            </a:r>
            <a:r>
              <a:rPr lang="en-US" sz="1400" dirty="0">
                <a:solidFill>
                  <a:schemeClr val="dk1"/>
                </a:solidFill>
              </a:rPr>
              <a:t>.</a:t>
            </a:r>
          </a:p>
          <a:p>
            <a:pPr marL="342900" indent="-342900">
              <a:lnSpc>
                <a:spcPct val="150000"/>
              </a:lnSpc>
              <a:spcBef>
                <a:spcPts val="0"/>
              </a:spcBef>
              <a:buFont typeface="+mj-lt"/>
              <a:buAutoNum type="arabicPeriod"/>
            </a:pPr>
            <a:r>
              <a:rPr lang="en-US" sz="1400" dirty="0" err="1">
                <a:solidFill>
                  <a:schemeClr val="dk1"/>
                </a:solidFill>
              </a:rPr>
              <a:t>Pruebas</a:t>
            </a:r>
            <a:r>
              <a:rPr lang="en-US" sz="1400" dirty="0">
                <a:solidFill>
                  <a:schemeClr val="dk1"/>
                </a:solidFill>
              </a:rPr>
              <a:t> de precision, para  </a:t>
            </a:r>
            <a:r>
              <a:rPr lang="en-US" sz="1400" dirty="0" err="1">
                <a:solidFill>
                  <a:schemeClr val="dk1"/>
                </a:solidFill>
              </a:rPr>
              <a:t>asegurar</a:t>
            </a:r>
            <a:r>
              <a:rPr lang="en-US" sz="1400" dirty="0">
                <a:solidFill>
                  <a:schemeClr val="dk1"/>
                </a:solidFill>
              </a:rPr>
              <a:t> que los </a:t>
            </a:r>
            <a:r>
              <a:rPr lang="en-US" sz="1400" dirty="0" err="1">
                <a:solidFill>
                  <a:schemeClr val="dk1"/>
                </a:solidFill>
              </a:rPr>
              <a:t>datos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representan</a:t>
            </a:r>
            <a:r>
              <a:rPr lang="en-US" sz="1400" dirty="0">
                <a:solidFill>
                  <a:schemeClr val="dk1"/>
                </a:solidFill>
              </a:rPr>
              <a:t> el valor del </a:t>
            </a:r>
            <a:r>
              <a:rPr lang="en-US" sz="1400" dirty="0" err="1">
                <a:solidFill>
                  <a:schemeClr val="dk1"/>
                </a:solidFill>
              </a:rPr>
              <a:t>objeto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en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análisis</a:t>
            </a:r>
            <a:r>
              <a:rPr lang="en-US" sz="1400" dirty="0">
                <a:solidFill>
                  <a:schemeClr val="dk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6144058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to 4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11" name="Slide do think-cell" r:id="rId6" imgW="270" imgH="270" progId="TCLayout.ActiveDocument.1">
                  <p:embed/>
                </p:oleObj>
              </mc:Choice>
              <mc:Fallback>
                <p:oleObj name="Slide do think-cell" r:id="rId6" imgW="270" imgH="270" progId="TCLayout.ActiveDocument.1">
                  <p:embed/>
                  <p:pic>
                    <p:nvPicPr>
                      <p:cNvPr id="49" name="Objeto 4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Retângulo 4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US" sz="16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162790" y="0"/>
            <a:ext cx="8467110" cy="540000"/>
          </a:xfrm>
        </p:spPr>
        <p:txBody>
          <a:bodyPr vert="horz" anchor="ctr">
            <a:normAutofit/>
          </a:bodyPr>
          <a:lstStyle/>
          <a:p>
            <a:r>
              <a:rPr lang="es-ES" sz="1800" dirty="0"/>
              <a:t>Identifica los delitos que van a la alza y a la baja en la CDMX</a:t>
            </a:r>
            <a:endParaRPr lang="en-US" sz="1800" dirty="0"/>
          </a:p>
        </p:txBody>
      </p:sp>
      <p:sp>
        <p:nvSpPr>
          <p:cNvPr id="57" name="Retângulo 50">
            <a:extLst>
              <a:ext uri="{FF2B5EF4-FFF2-40B4-BE49-F238E27FC236}">
                <a16:creationId xmlns:a16="http://schemas.microsoft.com/office/drawing/2014/main" id="{1B8D716F-5E01-4E3D-ADAF-72435BED8FA3}"/>
              </a:ext>
            </a:extLst>
          </p:cNvPr>
          <p:cNvSpPr/>
          <p:nvPr/>
        </p:nvSpPr>
        <p:spPr>
          <a:xfrm>
            <a:off x="581336" y="753326"/>
            <a:ext cx="10848663" cy="5675466"/>
          </a:xfrm>
          <a:prstGeom prst="rect">
            <a:avLst/>
          </a:prstGeom>
          <a:noFill/>
          <a:ln w="50800" cap="flat" cmpd="sng" algn="ctr">
            <a:solidFill>
              <a:srgbClr val="595959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60" name="Google Shape;813;p64">
            <a:extLst>
              <a:ext uri="{FF2B5EF4-FFF2-40B4-BE49-F238E27FC236}">
                <a16:creationId xmlns:a16="http://schemas.microsoft.com/office/drawing/2014/main" id="{544B8917-C575-4AD5-A9B4-CB7AFF2A64D2}"/>
              </a:ext>
            </a:extLst>
          </p:cNvPr>
          <p:cNvSpPr txBox="1">
            <a:spLocks/>
          </p:cNvSpPr>
          <p:nvPr/>
        </p:nvSpPr>
        <p:spPr>
          <a:xfrm>
            <a:off x="762001" y="858417"/>
            <a:ext cx="4738467" cy="5426064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50000"/>
              </a:lnSpc>
              <a:spcBef>
                <a:spcPts val="0"/>
              </a:spcBef>
              <a:buFont typeface="+mj-lt"/>
              <a:buAutoNum type="arabicPeriod"/>
            </a:pPr>
            <a:r>
              <a:rPr lang="en-US" sz="1400" dirty="0">
                <a:solidFill>
                  <a:schemeClr val="dk1"/>
                </a:solidFill>
              </a:rPr>
              <a:t>Para </a:t>
            </a:r>
            <a:r>
              <a:rPr lang="en-US" sz="1400" dirty="0" err="1">
                <a:solidFill>
                  <a:schemeClr val="dk1"/>
                </a:solidFill>
              </a:rPr>
              <a:t>este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análisis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considero</a:t>
            </a:r>
            <a:r>
              <a:rPr lang="en-US" sz="1400" dirty="0">
                <a:solidFill>
                  <a:schemeClr val="dk1"/>
                </a:solidFill>
              </a:rPr>
              <a:t> los </a:t>
            </a:r>
            <a:r>
              <a:rPr lang="en-US" sz="1400" dirty="0" err="1">
                <a:solidFill>
                  <a:schemeClr val="dk1"/>
                </a:solidFill>
              </a:rPr>
              <a:t>datos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desde</a:t>
            </a:r>
            <a:r>
              <a:rPr lang="en-US" sz="1400" dirty="0">
                <a:solidFill>
                  <a:schemeClr val="dk1"/>
                </a:solidFill>
              </a:rPr>
              <a:t> el 2000 hasta el 2020, </a:t>
            </a:r>
            <a:r>
              <a:rPr lang="en-US" sz="1400" dirty="0" err="1">
                <a:solidFill>
                  <a:schemeClr val="dk1"/>
                </a:solidFill>
              </a:rPr>
              <a:t>excluyo</a:t>
            </a:r>
            <a:r>
              <a:rPr lang="en-US" sz="1400" dirty="0">
                <a:solidFill>
                  <a:schemeClr val="dk1"/>
                </a:solidFill>
              </a:rPr>
              <a:t> el 2021 </a:t>
            </a:r>
            <a:r>
              <a:rPr lang="en-US" sz="1400" dirty="0" err="1">
                <a:solidFill>
                  <a:schemeClr val="dk1"/>
                </a:solidFill>
              </a:rPr>
              <a:t>porque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estoy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analizando</a:t>
            </a:r>
            <a:r>
              <a:rPr lang="en-US" sz="1400" dirty="0">
                <a:solidFill>
                  <a:schemeClr val="dk1"/>
                </a:solidFill>
              </a:rPr>
              <a:t> los </a:t>
            </a:r>
            <a:r>
              <a:rPr lang="en-US" sz="1400" dirty="0" err="1">
                <a:solidFill>
                  <a:schemeClr val="dk1"/>
                </a:solidFill>
              </a:rPr>
              <a:t>datos</a:t>
            </a:r>
            <a:r>
              <a:rPr lang="en-US" sz="1400" dirty="0">
                <a:solidFill>
                  <a:schemeClr val="dk1"/>
                </a:solidFill>
              </a:rPr>
              <a:t> de </a:t>
            </a:r>
            <a:r>
              <a:rPr lang="en-US" sz="1400" dirty="0" err="1">
                <a:solidFill>
                  <a:schemeClr val="dk1"/>
                </a:solidFill>
              </a:rPr>
              <a:t>manera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anual</a:t>
            </a:r>
            <a:r>
              <a:rPr lang="en-US" sz="1400" dirty="0">
                <a:solidFill>
                  <a:schemeClr val="dk1"/>
                </a:solidFill>
              </a:rPr>
              <a:t> y </a:t>
            </a:r>
            <a:r>
              <a:rPr lang="en-US" sz="1400" dirty="0" err="1">
                <a:solidFill>
                  <a:schemeClr val="dk1"/>
                </a:solidFill>
              </a:rPr>
              <a:t>además</a:t>
            </a:r>
            <a:r>
              <a:rPr lang="en-US" sz="1400" dirty="0">
                <a:solidFill>
                  <a:schemeClr val="dk1"/>
                </a:solidFill>
              </a:rPr>
              <a:t> consider las 10 </a:t>
            </a:r>
            <a:r>
              <a:rPr lang="en-US" sz="1400" dirty="0" err="1">
                <a:solidFill>
                  <a:schemeClr val="dk1"/>
                </a:solidFill>
              </a:rPr>
              <a:t>principales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alcaldías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debido</a:t>
            </a:r>
            <a:r>
              <a:rPr lang="en-US" sz="1400" dirty="0">
                <a:solidFill>
                  <a:schemeClr val="dk1"/>
                </a:solidFill>
              </a:rPr>
              <a:t> a que </a:t>
            </a:r>
            <a:r>
              <a:rPr lang="en-US" sz="1400" dirty="0" err="1">
                <a:solidFill>
                  <a:schemeClr val="dk1"/>
                </a:solidFill>
              </a:rPr>
              <a:t>concentran</a:t>
            </a:r>
            <a:r>
              <a:rPr lang="en-US" sz="1400" dirty="0">
                <a:solidFill>
                  <a:schemeClr val="dk1"/>
                </a:solidFill>
              </a:rPr>
              <a:t> la mayor </a:t>
            </a:r>
            <a:r>
              <a:rPr lang="en-US" sz="1400" dirty="0" err="1">
                <a:solidFill>
                  <a:schemeClr val="dk1"/>
                </a:solidFill>
              </a:rPr>
              <a:t>cantidad</a:t>
            </a:r>
            <a:r>
              <a:rPr lang="en-US" sz="1400" dirty="0">
                <a:solidFill>
                  <a:schemeClr val="dk1"/>
                </a:solidFill>
              </a:rPr>
              <a:t> de </a:t>
            </a:r>
            <a:r>
              <a:rPr lang="en-US" sz="1400" dirty="0" err="1">
                <a:solidFill>
                  <a:schemeClr val="dk1"/>
                </a:solidFill>
              </a:rPr>
              <a:t>incidencias</a:t>
            </a:r>
            <a:r>
              <a:rPr lang="en-US" sz="1400" dirty="0">
                <a:solidFill>
                  <a:schemeClr val="dk1"/>
                </a:solidFill>
              </a:rPr>
              <a:t>.</a:t>
            </a:r>
          </a:p>
          <a:p>
            <a:pPr marL="342900" indent="-342900">
              <a:lnSpc>
                <a:spcPct val="150000"/>
              </a:lnSpc>
              <a:spcBef>
                <a:spcPts val="0"/>
              </a:spcBef>
              <a:buFont typeface="+mj-lt"/>
              <a:buAutoNum type="arabicPeriod"/>
            </a:pPr>
            <a:r>
              <a:rPr lang="en-US" sz="1400" dirty="0">
                <a:solidFill>
                  <a:schemeClr val="dk1"/>
                </a:solidFill>
              </a:rPr>
              <a:t>Como se </a:t>
            </a:r>
            <a:r>
              <a:rPr lang="en-US" sz="1400" dirty="0" err="1">
                <a:solidFill>
                  <a:schemeClr val="dk1"/>
                </a:solidFill>
              </a:rPr>
              <a:t>puede</a:t>
            </a:r>
            <a:r>
              <a:rPr lang="en-US" sz="1400" dirty="0">
                <a:solidFill>
                  <a:schemeClr val="dk1"/>
                </a:solidFill>
              </a:rPr>
              <a:t> observer </a:t>
            </a:r>
            <a:r>
              <a:rPr lang="en-US" sz="1400" dirty="0" err="1">
                <a:solidFill>
                  <a:schemeClr val="dk1"/>
                </a:solidFill>
              </a:rPr>
              <a:t>en</a:t>
            </a:r>
            <a:r>
              <a:rPr lang="en-US" sz="1400" dirty="0">
                <a:solidFill>
                  <a:schemeClr val="dk1"/>
                </a:solidFill>
              </a:rPr>
              <a:t> el </a:t>
            </a:r>
            <a:r>
              <a:rPr lang="en-US" sz="1400" dirty="0" err="1">
                <a:solidFill>
                  <a:schemeClr val="dk1"/>
                </a:solidFill>
              </a:rPr>
              <a:t>gráfico</a:t>
            </a:r>
            <a:r>
              <a:rPr lang="en-US" sz="1400" dirty="0">
                <a:solidFill>
                  <a:schemeClr val="dk1"/>
                </a:solidFill>
              </a:rPr>
              <a:t>, para el </a:t>
            </a:r>
            <a:r>
              <a:rPr lang="en-US" sz="1400" dirty="0" err="1">
                <a:solidFill>
                  <a:schemeClr val="dk1"/>
                </a:solidFill>
              </a:rPr>
              <a:t>año</a:t>
            </a:r>
            <a:r>
              <a:rPr lang="en-US" sz="1400" dirty="0">
                <a:solidFill>
                  <a:schemeClr val="dk1"/>
                </a:solidFill>
              </a:rPr>
              <a:t> 2020 </a:t>
            </a:r>
            <a:r>
              <a:rPr lang="en-US" sz="1400" dirty="0" err="1">
                <a:solidFill>
                  <a:schemeClr val="dk1"/>
                </a:solidFill>
              </a:rPr>
              <a:t>casi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todas</a:t>
            </a:r>
            <a:r>
              <a:rPr lang="en-US" sz="1400" dirty="0">
                <a:solidFill>
                  <a:schemeClr val="dk1"/>
                </a:solidFill>
              </a:rPr>
              <a:t> las </a:t>
            </a:r>
            <a:r>
              <a:rPr lang="en-US" sz="1400" dirty="0" err="1">
                <a:solidFill>
                  <a:schemeClr val="dk1"/>
                </a:solidFill>
              </a:rPr>
              <a:t>alcaldías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presentaron</a:t>
            </a:r>
            <a:r>
              <a:rPr lang="en-US" sz="1400" dirty="0">
                <a:solidFill>
                  <a:schemeClr val="dk1"/>
                </a:solidFill>
              </a:rPr>
              <a:t> una </a:t>
            </a:r>
            <a:r>
              <a:rPr lang="en-US" sz="1400" dirty="0" err="1">
                <a:solidFill>
                  <a:schemeClr val="dk1"/>
                </a:solidFill>
              </a:rPr>
              <a:t>baja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en</a:t>
            </a:r>
            <a:r>
              <a:rPr lang="en-US" sz="1400" dirty="0">
                <a:solidFill>
                  <a:schemeClr val="dk1"/>
                </a:solidFill>
              </a:rPr>
              <a:t> sus </a:t>
            </a:r>
            <a:r>
              <a:rPr lang="en-US" sz="1400" dirty="0" err="1">
                <a:solidFill>
                  <a:schemeClr val="dk1"/>
                </a:solidFill>
              </a:rPr>
              <a:t>indicencias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totales</a:t>
            </a:r>
            <a:r>
              <a:rPr lang="en-US" sz="1400" dirty="0">
                <a:solidFill>
                  <a:schemeClr val="dk1"/>
                </a:solidFill>
              </a:rPr>
              <a:t>, </a:t>
            </a:r>
            <a:r>
              <a:rPr lang="en-US" sz="1400" dirty="0" err="1">
                <a:solidFill>
                  <a:schemeClr val="dk1"/>
                </a:solidFill>
              </a:rPr>
              <a:t>este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fenómeno</a:t>
            </a:r>
            <a:r>
              <a:rPr lang="en-US" sz="1400" dirty="0">
                <a:solidFill>
                  <a:schemeClr val="dk1"/>
                </a:solidFill>
              </a:rPr>
              <a:t> se </a:t>
            </a:r>
            <a:r>
              <a:rPr lang="en-US" sz="1400" dirty="0" err="1">
                <a:solidFill>
                  <a:schemeClr val="dk1"/>
                </a:solidFill>
              </a:rPr>
              <a:t>puede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explicar</a:t>
            </a:r>
            <a:r>
              <a:rPr lang="en-US" sz="1400" dirty="0">
                <a:solidFill>
                  <a:schemeClr val="dk1"/>
                </a:solidFill>
              </a:rPr>
              <a:t> con las </a:t>
            </a:r>
            <a:r>
              <a:rPr lang="en-US" sz="1400" dirty="0" err="1">
                <a:solidFill>
                  <a:schemeClr val="dk1"/>
                </a:solidFill>
              </a:rPr>
              <a:t>cuarentena</a:t>
            </a:r>
            <a:r>
              <a:rPr lang="en-US" sz="1400" dirty="0">
                <a:solidFill>
                  <a:schemeClr val="dk1"/>
                </a:solidFill>
              </a:rPr>
              <a:t> y </a:t>
            </a:r>
            <a:r>
              <a:rPr lang="en-US" sz="1400" dirty="0" err="1">
                <a:solidFill>
                  <a:schemeClr val="dk1"/>
                </a:solidFill>
              </a:rPr>
              <a:t>otras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politicas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frente</a:t>
            </a:r>
            <a:r>
              <a:rPr lang="en-US" sz="1400" dirty="0">
                <a:solidFill>
                  <a:schemeClr val="dk1"/>
                </a:solidFill>
              </a:rPr>
              <a:t> a la </a:t>
            </a:r>
            <a:r>
              <a:rPr lang="en-US" sz="1400" dirty="0" err="1">
                <a:solidFill>
                  <a:schemeClr val="dk1"/>
                </a:solidFill>
              </a:rPr>
              <a:t>pandemia</a:t>
            </a:r>
            <a:r>
              <a:rPr lang="en-US" sz="1400" dirty="0">
                <a:solidFill>
                  <a:schemeClr val="dk1"/>
                </a:solidFill>
              </a:rPr>
              <a:t> del COVID 19.</a:t>
            </a:r>
          </a:p>
          <a:p>
            <a:pPr marL="342900" indent="-342900">
              <a:lnSpc>
                <a:spcPct val="150000"/>
              </a:lnSpc>
              <a:spcBef>
                <a:spcPts val="0"/>
              </a:spcBef>
              <a:buFont typeface="+mj-lt"/>
              <a:buAutoNum type="arabicPeriod"/>
            </a:pPr>
            <a:r>
              <a:rPr lang="en-US" sz="1400" dirty="0">
                <a:solidFill>
                  <a:schemeClr val="dk1"/>
                </a:solidFill>
              </a:rPr>
              <a:t>Para </a:t>
            </a:r>
            <a:r>
              <a:rPr lang="en-US" sz="1400" dirty="0" err="1">
                <a:solidFill>
                  <a:schemeClr val="dk1"/>
                </a:solidFill>
              </a:rPr>
              <a:t>revisar</a:t>
            </a:r>
            <a:r>
              <a:rPr lang="en-US" sz="1400" dirty="0">
                <a:solidFill>
                  <a:schemeClr val="dk1"/>
                </a:solidFill>
              </a:rPr>
              <a:t> los </a:t>
            </a:r>
            <a:r>
              <a:rPr lang="en-US" sz="1400" dirty="0" err="1">
                <a:solidFill>
                  <a:schemeClr val="dk1"/>
                </a:solidFill>
              </a:rPr>
              <a:t>datos</a:t>
            </a:r>
            <a:r>
              <a:rPr lang="en-US" sz="1400" dirty="0">
                <a:solidFill>
                  <a:schemeClr val="dk1"/>
                </a:solidFill>
              </a:rPr>
              <a:t> por </a:t>
            </a:r>
            <a:r>
              <a:rPr lang="en-US" sz="1400" dirty="0" err="1">
                <a:solidFill>
                  <a:schemeClr val="dk1"/>
                </a:solidFill>
              </a:rPr>
              <a:t>categoría</a:t>
            </a:r>
            <a:r>
              <a:rPr lang="en-US" sz="1400" dirty="0">
                <a:solidFill>
                  <a:schemeClr val="dk1"/>
                </a:solidFill>
              </a:rPr>
              <a:t> de </a:t>
            </a:r>
            <a:r>
              <a:rPr lang="en-US" sz="1400" dirty="0" err="1">
                <a:solidFill>
                  <a:schemeClr val="dk1"/>
                </a:solidFill>
              </a:rPr>
              <a:t>delito</a:t>
            </a:r>
            <a:r>
              <a:rPr lang="en-US" sz="1400" dirty="0">
                <a:solidFill>
                  <a:schemeClr val="dk1"/>
                </a:solidFill>
              </a:rPr>
              <a:t>, se </a:t>
            </a:r>
            <a:r>
              <a:rPr lang="en-US" sz="1400" dirty="0" err="1">
                <a:solidFill>
                  <a:schemeClr val="dk1"/>
                </a:solidFill>
              </a:rPr>
              <a:t>han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excluido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aquellos</a:t>
            </a:r>
            <a:r>
              <a:rPr lang="en-US" sz="1400" dirty="0">
                <a:solidFill>
                  <a:schemeClr val="dk1"/>
                </a:solidFill>
              </a:rPr>
              <a:t> que </a:t>
            </a:r>
            <a:r>
              <a:rPr lang="en-US" sz="1400" dirty="0" err="1">
                <a:solidFill>
                  <a:schemeClr val="dk1"/>
                </a:solidFill>
              </a:rPr>
              <a:t>presentan</a:t>
            </a:r>
            <a:r>
              <a:rPr lang="en-US" sz="1400" dirty="0">
                <a:solidFill>
                  <a:schemeClr val="dk1"/>
                </a:solidFill>
              </a:rPr>
              <a:t> una </a:t>
            </a:r>
            <a:r>
              <a:rPr lang="en-US" sz="1400" dirty="0" err="1">
                <a:solidFill>
                  <a:schemeClr val="dk1"/>
                </a:solidFill>
              </a:rPr>
              <a:t>baja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incidencia</a:t>
            </a:r>
            <a:r>
              <a:rPr lang="en-US" sz="1400" dirty="0">
                <a:solidFill>
                  <a:schemeClr val="dk1"/>
                </a:solidFill>
              </a:rPr>
              <a:t>, y Tambien se </a:t>
            </a:r>
            <a:r>
              <a:rPr lang="en-US" sz="1400" dirty="0" err="1">
                <a:solidFill>
                  <a:schemeClr val="dk1"/>
                </a:solidFill>
              </a:rPr>
              <a:t>excluyó</a:t>
            </a:r>
            <a:r>
              <a:rPr lang="en-US" sz="1400" dirty="0">
                <a:solidFill>
                  <a:schemeClr val="dk1"/>
                </a:solidFill>
              </a:rPr>
              <a:t> DELITO DE BAJO IMPACTO, </a:t>
            </a:r>
            <a:r>
              <a:rPr lang="en-US" sz="1400" dirty="0" err="1">
                <a:solidFill>
                  <a:schemeClr val="dk1"/>
                </a:solidFill>
              </a:rPr>
              <a:t>debido</a:t>
            </a:r>
            <a:r>
              <a:rPr lang="en-US" sz="1400" dirty="0">
                <a:solidFill>
                  <a:schemeClr val="dk1"/>
                </a:solidFill>
              </a:rPr>
              <a:t> a que </a:t>
            </a:r>
            <a:r>
              <a:rPr lang="en-US" sz="1400" dirty="0" err="1">
                <a:solidFill>
                  <a:schemeClr val="dk1"/>
                </a:solidFill>
              </a:rPr>
              <a:t>concentra</a:t>
            </a:r>
            <a:r>
              <a:rPr lang="en-US" sz="1400" dirty="0">
                <a:solidFill>
                  <a:schemeClr val="dk1"/>
                </a:solidFill>
              </a:rPr>
              <a:t> la mayor </a:t>
            </a:r>
            <a:r>
              <a:rPr lang="en-US" sz="1400" dirty="0" err="1">
                <a:solidFill>
                  <a:schemeClr val="dk1"/>
                </a:solidFill>
              </a:rPr>
              <a:t>cantidad</a:t>
            </a:r>
            <a:r>
              <a:rPr lang="en-US" sz="1400" dirty="0">
                <a:solidFill>
                  <a:schemeClr val="dk1"/>
                </a:solidFill>
              </a:rPr>
              <a:t> de </a:t>
            </a:r>
            <a:r>
              <a:rPr lang="en-US" sz="1400" dirty="0" err="1">
                <a:solidFill>
                  <a:schemeClr val="dk1"/>
                </a:solidFill>
              </a:rPr>
              <a:t>incidencias</a:t>
            </a:r>
            <a:r>
              <a:rPr lang="en-US" sz="1400" dirty="0">
                <a:solidFill>
                  <a:schemeClr val="dk1"/>
                </a:solidFill>
              </a:rPr>
              <a:t>. Y </a:t>
            </a:r>
            <a:r>
              <a:rPr lang="en-US" sz="1400" dirty="0" err="1">
                <a:solidFill>
                  <a:schemeClr val="dk1"/>
                </a:solidFill>
              </a:rPr>
              <a:t>en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este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caso</a:t>
            </a:r>
            <a:r>
              <a:rPr lang="en-US" sz="1400" dirty="0">
                <a:solidFill>
                  <a:schemeClr val="dk1"/>
                </a:solidFill>
              </a:rPr>
              <a:t> se </a:t>
            </a:r>
            <a:r>
              <a:rPr lang="en-US" sz="1400" dirty="0" err="1">
                <a:solidFill>
                  <a:schemeClr val="dk1"/>
                </a:solidFill>
              </a:rPr>
              <a:t>considero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desde</a:t>
            </a:r>
            <a:r>
              <a:rPr lang="en-US" sz="1400" dirty="0">
                <a:solidFill>
                  <a:schemeClr val="dk1"/>
                </a:solidFill>
              </a:rPr>
              <a:t> el 2010 hasta el 2020. </a:t>
            </a:r>
            <a:r>
              <a:rPr lang="en-US" sz="1400" dirty="0" err="1">
                <a:solidFill>
                  <a:schemeClr val="dk1"/>
                </a:solidFill>
              </a:rPr>
              <a:t>fecha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en</a:t>
            </a:r>
            <a:r>
              <a:rPr lang="en-US" sz="1400" dirty="0">
                <a:solidFill>
                  <a:schemeClr val="dk1"/>
                </a:solidFill>
              </a:rPr>
              <a:t> la que </a:t>
            </a:r>
            <a:r>
              <a:rPr lang="en-US" sz="1400" dirty="0" err="1">
                <a:solidFill>
                  <a:schemeClr val="dk1"/>
                </a:solidFill>
              </a:rPr>
              <a:t>tambien</a:t>
            </a:r>
            <a:r>
              <a:rPr lang="en-US" sz="1400" dirty="0">
                <a:solidFill>
                  <a:schemeClr val="dk1"/>
                </a:solidFill>
              </a:rPr>
              <a:t> se </a:t>
            </a:r>
            <a:r>
              <a:rPr lang="en-US" sz="1400" dirty="0" err="1">
                <a:solidFill>
                  <a:schemeClr val="dk1"/>
                </a:solidFill>
              </a:rPr>
              <a:t>observa</a:t>
            </a:r>
            <a:r>
              <a:rPr lang="en-US" sz="1400" dirty="0">
                <a:solidFill>
                  <a:schemeClr val="dk1"/>
                </a:solidFill>
              </a:rPr>
              <a:t> una </a:t>
            </a:r>
            <a:r>
              <a:rPr lang="en-US" sz="1400" dirty="0" err="1">
                <a:solidFill>
                  <a:schemeClr val="dk1"/>
                </a:solidFill>
              </a:rPr>
              <a:t>tendencia</a:t>
            </a:r>
            <a:r>
              <a:rPr lang="en-US" sz="1400" dirty="0">
                <a:solidFill>
                  <a:schemeClr val="dk1"/>
                </a:solidFill>
              </a:rPr>
              <a:t> a la </a:t>
            </a:r>
            <a:r>
              <a:rPr lang="en-US" sz="1400" dirty="0" err="1">
                <a:solidFill>
                  <a:schemeClr val="dk1"/>
                </a:solidFill>
              </a:rPr>
              <a:t>baja</a:t>
            </a:r>
            <a:r>
              <a:rPr lang="en-US" sz="1400" dirty="0">
                <a:solidFill>
                  <a:schemeClr val="dk1"/>
                </a:solidFill>
              </a:rPr>
              <a:t>.</a:t>
            </a:r>
          </a:p>
          <a:p>
            <a:pPr marL="342900" indent="-342900">
              <a:lnSpc>
                <a:spcPct val="150000"/>
              </a:lnSpc>
              <a:spcBef>
                <a:spcPts val="0"/>
              </a:spcBef>
              <a:buFont typeface="+mj-lt"/>
              <a:buAutoNum type="arabicPeriod"/>
            </a:pPr>
            <a:endParaRPr lang="en-US" sz="1400" dirty="0">
              <a:solidFill>
                <a:schemeClr val="dk1"/>
              </a:solidFill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9C3009A7-6A47-450C-BCC7-1AE5F4B3D6D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500468" y="1013722"/>
            <a:ext cx="5929531" cy="2085689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E2BDF6CA-0196-47FE-8365-CE898EDD1A1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500468" y="3758590"/>
            <a:ext cx="5669280" cy="2468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34436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to 4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6" name="Slide do think-cell" r:id="rId6" imgW="270" imgH="270" progId="TCLayout.ActiveDocument.1">
                  <p:embed/>
                </p:oleObj>
              </mc:Choice>
              <mc:Fallback>
                <p:oleObj name="Slide do think-cell" r:id="rId6" imgW="270" imgH="270" progId="TCLayout.ActiveDocument.1">
                  <p:embed/>
                  <p:pic>
                    <p:nvPicPr>
                      <p:cNvPr id="49" name="Objeto 4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Retângulo 4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US" sz="16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54745" y="0"/>
            <a:ext cx="10475155" cy="540000"/>
          </a:xfrm>
        </p:spPr>
        <p:txBody>
          <a:bodyPr vert="horz" anchor="ctr">
            <a:normAutofit fontScale="90000"/>
          </a:bodyPr>
          <a:lstStyle/>
          <a:p>
            <a:r>
              <a:rPr lang="es-ES" sz="1800" dirty="0"/>
              <a:t>¿Cuál es la alcaldía que más delitos tiene y cuál es la que menos?¿Por qué crees que sea</a:t>
            </a:r>
            <a:br>
              <a:rPr lang="es-ES" sz="1800" dirty="0"/>
            </a:br>
            <a:r>
              <a:rPr lang="es-ES" sz="1800" dirty="0"/>
              <a:t>esto?</a:t>
            </a:r>
            <a:endParaRPr lang="en-US" sz="1800" dirty="0"/>
          </a:p>
        </p:txBody>
      </p:sp>
      <p:sp>
        <p:nvSpPr>
          <p:cNvPr id="57" name="Retângulo 50">
            <a:extLst>
              <a:ext uri="{FF2B5EF4-FFF2-40B4-BE49-F238E27FC236}">
                <a16:creationId xmlns:a16="http://schemas.microsoft.com/office/drawing/2014/main" id="{1B8D716F-5E01-4E3D-ADAF-72435BED8FA3}"/>
              </a:ext>
            </a:extLst>
          </p:cNvPr>
          <p:cNvSpPr/>
          <p:nvPr/>
        </p:nvSpPr>
        <p:spPr>
          <a:xfrm>
            <a:off x="581336" y="753326"/>
            <a:ext cx="10848663" cy="5675466"/>
          </a:xfrm>
          <a:prstGeom prst="rect">
            <a:avLst/>
          </a:prstGeom>
          <a:noFill/>
          <a:ln w="50800" cap="flat" cmpd="sng" algn="ctr">
            <a:solidFill>
              <a:srgbClr val="595959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60" name="Google Shape;813;p64">
            <a:extLst>
              <a:ext uri="{FF2B5EF4-FFF2-40B4-BE49-F238E27FC236}">
                <a16:creationId xmlns:a16="http://schemas.microsoft.com/office/drawing/2014/main" id="{544B8917-C575-4AD5-A9B4-CB7AFF2A64D2}"/>
              </a:ext>
            </a:extLst>
          </p:cNvPr>
          <p:cNvSpPr txBox="1">
            <a:spLocks/>
          </p:cNvSpPr>
          <p:nvPr/>
        </p:nvSpPr>
        <p:spPr>
          <a:xfrm>
            <a:off x="762001" y="900908"/>
            <a:ext cx="5809210" cy="5426064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US" sz="1400" dirty="0" err="1">
                <a:solidFill>
                  <a:schemeClr val="dk1"/>
                </a:solidFill>
              </a:rPr>
              <a:t>Según</a:t>
            </a:r>
            <a:r>
              <a:rPr lang="en-US" sz="1400" dirty="0">
                <a:solidFill>
                  <a:schemeClr val="dk1"/>
                </a:solidFill>
              </a:rPr>
              <a:t> la </a:t>
            </a:r>
            <a:r>
              <a:rPr lang="en-US" sz="1400" dirty="0" err="1">
                <a:solidFill>
                  <a:schemeClr val="dk1"/>
                </a:solidFill>
              </a:rPr>
              <a:t>información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analizada</a:t>
            </a:r>
            <a:r>
              <a:rPr lang="en-US" sz="1400" dirty="0">
                <a:solidFill>
                  <a:schemeClr val="dk1"/>
                </a:solidFill>
              </a:rPr>
              <a:t>, </a:t>
            </a:r>
            <a:r>
              <a:rPr lang="en-US" sz="1400" dirty="0" err="1">
                <a:solidFill>
                  <a:schemeClr val="dk1"/>
                </a:solidFill>
              </a:rPr>
              <a:t>Cuauhtemoc</a:t>
            </a:r>
            <a:r>
              <a:rPr lang="en-US" sz="1400" dirty="0">
                <a:solidFill>
                  <a:schemeClr val="dk1"/>
                </a:solidFill>
              </a:rPr>
              <a:t> es la </a:t>
            </a:r>
            <a:r>
              <a:rPr lang="en-US" sz="1400" dirty="0" err="1">
                <a:solidFill>
                  <a:schemeClr val="dk1"/>
                </a:solidFill>
              </a:rPr>
              <a:t>alcaldía</a:t>
            </a:r>
            <a:r>
              <a:rPr lang="en-US" sz="1400" dirty="0">
                <a:solidFill>
                  <a:schemeClr val="dk1"/>
                </a:solidFill>
              </a:rPr>
              <a:t> que </a:t>
            </a:r>
            <a:r>
              <a:rPr lang="en-US" sz="1400" dirty="0" err="1">
                <a:solidFill>
                  <a:schemeClr val="dk1"/>
                </a:solidFill>
              </a:rPr>
              <a:t>presenta</a:t>
            </a:r>
            <a:r>
              <a:rPr lang="en-US" sz="1400" dirty="0">
                <a:solidFill>
                  <a:schemeClr val="dk1"/>
                </a:solidFill>
              </a:rPr>
              <a:t> una mayor </a:t>
            </a:r>
            <a:r>
              <a:rPr lang="en-US" sz="1400" dirty="0" err="1">
                <a:solidFill>
                  <a:schemeClr val="dk1"/>
                </a:solidFill>
              </a:rPr>
              <a:t>frecuencia</a:t>
            </a:r>
            <a:r>
              <a:rPr lang="en-US" sz="1400" dirty="0">
                <a:solidFill>
                  <a:schemeClr val="dk1"/>
                </a:solidFill>
              </a:rPr>
              <a:t> de </a:t>
            </a:r>
            <a:r>
              <a:rPr lang="en-US" sz="1400" dirty="0" err="1">
                <a:solidFill>
                  <a:schemeClr val="dk1"/>
                </a:solidFill>
              </a:rPr>
              <a:t>delitos</a:t>
            </a:r>
            <a:r>
              <a:rPr lang="en-US" sz="1400" dirty="0">
                <a:solidFill>
                  <a:schemeClr val="dk1"/>
                </a:solidFill>
              </a:rPr>
              <a:t> (</a:t>
            </a:r>
            <a:r>
              <a:rPr lang="en-US" sz="1400" dirty="0" err="1">
                <a:solidFill>
                  <a:schemeClr val="dk1"/>
                </a:solidFill>
              </a:rPr>
              <a:t>considerando</a:t>
            </a:r>
            <a:r>
              <a:rPr lang="en-US" sz="1400" dirty="0">
                <a:solidFill>
                  <a:schemeClr val="dk1"/>
                </a:solidFill>
              </a:rPr>
              <a:t> los </a:t>
            </a:r>
            <a:r>
              <a:rPr lang="en-US" sz="1400" dirty="0" err="1">
                <a:solidFill>
                  <a:schemeClr val="dk1"/>
                </a:solidFill>
              </a:rPr>
              <a:t>últimos</a:t>
            </a:r>
            <a:r>
              <a:rPr lang="en-US" sz="1400" dirty="0">
                <a:solidFill>
                  <a:schemeClr val="dk1"/>
                </a:solidFill>
              </a:rPr>
              <a:t> 11 </a:t>
            </a:r>
            <a:r>
              <a:rPr lang="en-US" sz="1400" dirty="0" err="1">
                <a:solidFill>
                  <a:schemeClr val="dk1"/>
                </a:solidFill>
              </a:rPr>
              <a:t>años</a:t>
            </a:r>
            <a:r>
              <a:rPr lang="en-US" sz="1400" dirty="0">
                <a:solidFill>
                  <a:schemeClr val="dk1"/>
                </a:solidFill>
              </a:rPr>
              <a:t>).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US" sz="1400" dirty="0">
                <a:solidFill>
                  <a:schemeClr val="dk1"/>
                </a:solidFill>
              </a:rPr>
              <a:t>Las </a:t>
            </a:r>
            <a:r>
              <a:rPr lang="en-US" sz="1400" dirty="0" err="1">
                <a:solidFill>
                  <a:schemeClr val="dk1"/>
                </a:solidFill>
              </a:rPr>
              <a:t>razones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pueden</a:t>
            </a:r>
            <a:r>
              <a:rPr lang="en-US" sz="1400" dirty="0">
                <a:solidFill>
                  <a:schemeClr val="dk1"/>
                </a:solidFill>
              </a:rPr>
              <a:t> ser </a:t>
            </a:r>
            <a:r>
              <a:rPr lang="en-US" sz="1400" dirty="0" err="1">
                <a:solidFill>
                  <a:schemeClr val="dk1"/>
                </a:solidFill>
              </a:rPr>
              <a:t>diversas</a:t>
            </a:r>
            <a:r>
              <a:rPr lang="en-US" sz="1400" dirty="0">
                <a:solidFill>
                  <a:schemeClr val="dk1"/>
                </a:solidFill>
              </a:rPr>
              <a:t>, </a:t>
            </a:r>
            <a:r>
              <a:rPr lang="en-US" sz="1400" dirty="0" err="1">
                <a:solidFill>
                  <a:schemeClr val="dk1"/>
                </a:solidFill>
              </a:rPr>
              <a:t>en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Cuauhtemoc</a:t>
            </a:r>
            <a:r>
              <a:rPr lang="en-US" sz="1400" dirty="0">
                <a:solidFill>
                  <a:schemeClr val="dk1"/>
                </a:solidFill>
              </a:rPr>
              <a:t> se </a:t>
            </a:r>
            <a:r>
              <a:rPr lang="en-US" sz="1400" dirty="0" err="1">
                <a:solidFill>
                  <a:schemeClr val="dk1"/>
                </a:solidFill>
              </a:rPr>
              <a:t>encuentra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desde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Tepito</a:t>
            </a:r>
            <a:r>
              <a:rPr lang="en-US" sz="1400" dirty="0">
                <a:solidFill>
                  <a:schemeClr val="dk1"/>
                </a:solidFill>
              </a:rPr>
              <a:t> hasta los </a:t>
            </a:r>
            <a:r>
              <a:rPr lang="en-US" sz="1400" dirty="0" err="1">
                <a:solidFill>
                  <a:schemeClr val="dk1"/>
                </a:solidFill>
              </a:rPr>
              <a:t>edificios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más</a:t>
            </a:r>
            <a:r>
              <a:rPr lang="en-US" sz="1400" dirty="0">
                <a:solidFill>
                  <a:schemeClr val="dk1"/>
                </a:solidFill>
              </a:rPr>
              <a:t> altos de la CDMX </a:t>
            </a:r>
            <a:r>
              <a:rPr lang="en-US" sz="1400" dirty="0" err="1">
                <a:solidFill>
                  <a:schemeClr val="dk1"/>
                </a:solidFill>
              </a:rPr>
              <a:t>sobre</a:t>
            </a:r>
            <a:r>
              <a:rPr lang="en-US" sz="1400" dirty="0">
                <a:solidFill>
                  <a:schemeClr val="dk1"/>
                </a:solidFill>
              </a:rPr>
              <a:t> la Avenida </a:t>
            </a:r>
            <a:r>
              <a:rPr lang="en-US" sz="1400" dirty="0" err="1">
                <a:solidFill>
                  <a:schemeClr val="dk1"/>
                </a:solidFill>
              </a:rPr>
              <a:t>reforma</a:t>
            </a:r>
            <a:r>
              <a:rPr lang="en-US" sz="1400" dirty="0">
                <a:solidFill>
                  <a:schemeClr val="dk1"/>
                </a:solidFill>
              </a:rPr>
              <a:t>. </a:t>
            </a:r>
            <a:r>
              <a:rPr lang="en-US" sz="1400" dirty="0" err="1">
                <a:solidFill>
                  <a:schemeClr val="dk1"/>
                </a:solidFill>
              </a:rPr>
              <a:t>Según</a:t>
            </a:r>
            <a:r>
              <a:rPr lang="en-US" sz="1400" dirty="0">
                <a:solidFill>
                  <a:schemeClr val="dk1"/>
                </a:solidFill>
              </a:rPr>
              <a:t> los </a:t>
            </a:r>
            <a:r>
              <a:rPr lang="en-US" sz="1400" dirty="0" err="1">
                <a:solidFill>
                  <a:schemeClr val="dk1"/>
                </a:solidFill>
              </a:rPr>
              <a:t>informes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periodísticos</a:t>
            </a:r>
            <a:r>
              <a:rPr lang="en-US" sz="1400" dirty="0">
                <a:solidFill>
                  <a:schemeClr val="dk1"/>
                </a:solidFill>
              </a:rPr>
              <a:t>, </a:t>
            </a:r>
            <a:r>
              <a:rPr lang="en-US" sz="1400" dirty="0" err="1">
                <a:solidFill>
                  <a:schemeClr val="dk1"/>
                </a:solidFill>
              </a:rPr>
              <a:t>en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está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alcaldía</a:t>
            </a:r>
            <a:r>
              <a:rPr lang="en-US" sz="1400" dirty="0">
                <a:solidFill>
                  <a:schemeClr val="dk1"/>
                </a:solidFill>
              </a:rPr>
              <a:t> se </a:t>
            </a:r>
            <a:r>
              <a:rPr lang="en-US" sz="1400" dirty="0" err="1">
                <a:solidFill>
                  <a:schemeClr val="dk1"/>
                </a:solidFill>
              </a:rPr>
              <a:t>presenta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desde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delincuencia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común</a:t>
            </a:r>
            <a:r>
              <a:rPr lang="en-US" sz="1400" dirty="0">
                <a:solidFill>
                  <a:schemeClr val="dk1"/>
                </a:solidFill>
              </a:rPr>
              <a:t>, </a:t>
            </a:r>
            <a:r>
              <a:rPr lang="en-US" sz="1400" dirty="0" err="1">
                <a:solidFill>
                  <a:schemeClr val="dk1"/>
                </a:solidFill>
              </a:rPr>
              <a:t>pasando</a:t>
            </a:r>
            <a:r>
              <a:rPr lang="en-US" sz="1400" dirty="0">
                <a:solidFill>
                  <a:schemeClr val="dk1"/>
                </a:solidFill>
              </a:rPr>
              <a:t> por </a:t>
            </a:r>
            <a:r>
              <a:rPr lang="en-US" sz="1400" dirty="0" err="1">
                <a:solidFill>
                  <a:schemeClr val="dk1"/>
                </a:solidFill>
              </a:rPr>
              <a:t>narcomenudeo</a:t>
            </a:r>
            <a:r>
              <a:rPr lang="en-US" sz="1400" dirty="0">
                <a:solidFill>
                  <a:schemeClr val="dk1"/>
                </a:solidFill>
              </a:rPr>
              <a:t> hasta </a:t>
            </a:r>
            <a:r>
              <a:rPr lang="en-US" sz="1400" dirty="0" err="1">
                <a:solidFill>
                  <a:schemeClr val="dk1"/>
                </a:solidFill>
              </a:rPr>
              <a:t>crimen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organizado</a:t>
            </a:r>
            <a:r>
              <a:rPr lang="en-US" sz="1400" dirty="0">
                <a:solidFill>
                  <a:schemeClr val="dk1"/>
                </a:solidFill>
              </a:rPr>
              <a:t>. Al </a:t>
            </a:r>
            <a:r>
              <a:rPr lang="en-US" sz="1400" dirty="0" err="1">
                <a:solidFill>
                  <a:schemeClr val="dk1"/>
                </a:solidFill>
              </a:rPr>
              <a:t>concentrar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muchas</a:t>
            </a:r>
            <a:r>
              <a:rPr lang="en-US" sz="1400" dirty="0">
                <a:solidFill>
                  <a:schemeClr val="dk1"/>
                </a:solidFill>
              </a:rPr>
              <a:t> de las </a:t>
            </a:r>
            <a:r>
              <a:rPr lang="en-US" sz="1400" dirty="0" err="1">
                <a:solidFill>
                  <a:schemeClr val="dk1"/>
                </a:solidFill>
              </a:rPr>
              <a:t>actividades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principales</a:t>
            </a:r>
            <a:r>
              <a:rPr lang="en-US" sz="1400" dirty="0">
                <a:solidFill>
                  <a:schemeClr val="dk1"/>
                </a:solidFill>
              </a:rPr>
              <a:t> de la </a:t>
            </a:r>
            <a:r>
              <a:rPr lang="en-US" sz="1400" dirty="0" err="1">
                <a:solidFill>
                  <a:schemeClr val="dk1"/>
                </a:solidFill>
              </a:rPr>
              <a:t>economía</a:t>
            </a:r>
            <a:r>
              <a:rPr lang="en-US" sz="1400" dirty="0">
                <a:solidFill>
                  <a:schemeClr val="dk1"/>
                </a:solidFill>
              </a:rPr>
              <a:t> Mexicana, es normal que </a:t>
            </a:r>
            <a:r>
              <a:rPr lang="en-US" sz="1400" dirty="0" err="1">
                <a:solidFill>
                  <a:schemeClr val="dk1"/>
                </a:solidFill>
              </a:rPr>
              <a:t>también</a:t>
            </a:r>
            <a:r>
              <a:rPr lang="en-US" sz="1400" dirty="0">
                <a:solidFill>
                  <a:schemeClr val="dk1"/>
                </a:solidFill>
              </a:rPr>
              <a:t> se </a:t>
            </a:r>
            <a:r>
              <a:rPr lang="en-US" sz="1400" dirty="0" err="1">
                <a:solidFill>
                  <a:schemeClr val="dk1"/>
                </a:solidFill>
              </a:rPr>
              <a:t>concentre</a:t>
            </a:r>
            <a:r>
              <a:rPr lang="en-US" sz="1400" dirty="0">
                <a:solidFill>
                  <a:schemeClr val="dk1"/>
                </a:solidFill>
              </a:rPr>
              <a:t> los </a:t>
            </a:r>
            <a:r>
              <a:rPr lang="en-US" sz="1400" dirty="0" err="1">
                <a:solidFill>
                  <a:schemeClr val="dk1"/>
                </a:solidFill>
              </a:rPr>
              <a:t>eventos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delictivos</a:t>
            </a:r>
            <a:r>
              <a:rPr lang="en-US" sz="1400" dirty="0">
                <a:solidFill>
                  <a:schemeClr val="dk1"/>
                </a:solidFill>
              </a:rPr>
              <a:t>.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US" sz="1400" dirty="0">
                <a:solidFill>
                  <a:schemeClr val="dk1"/>
                </a:solidFill>
              </a:rPr>
              <a:t>Por </a:t>
            </a:r>
            <a:r>
              <a:rPr lang="en-US" sz="1400" dirty="0" err="1">
                <a:solidFill>
                  <a:schemeClr val="dk1"/>
                </a:solidFill>
              </a:rPr>
              <a:t>otro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lado</a:t>
            </a:r>
            <a:r>
              <a:rPr lang="en-US" sz="1400" dirty="0">
                <a:solidFill>
                  <a:schemeClr val="dk1"/>
                </a:solidFill>
              </a:rPr>
              <a:t>, </a:t>
            </a:r>
            <a:r>
              <a:rPr lang="en-US" sz="1400" dirty="0" err="1">
                <a:solidFill>
                  <a:schemeClr val="dk1"/>
                </a:solidFill>
              </a:rPr>
              <a:t>en</a:t>
            </a:r>
            <a:r>
              <a:rPr lang="en-US" sz="1400" dirty="0">
                <a:solidFill>
                  <a:schemeClr val="dk1"/>
                </a:solidFill>
              </a:rPr>
              <a:t> la base de </a:t>
            </a:r>
            <a:r>
              <a:rPr lang="en-US" sz="1400" dirty="0" err="1">
                <a:solidFill>
                  <a:schemeClr val="dk1"/>
                </a:solidFill>
              </a:rPr>
              <a:t>datos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pude</a:t>
            </a:r>
            <a:r>
              <a:rPr lang="en-US" sz="1400" dirty="0">
                <a:solidFill>
                  <a:schemeClr val="dk1"/>
                </a:solidFill>
              </a:rPr>
              <a:t> observer que hay </a:t>
            </a:r>
            <a:r>
              <a:rPr lang="en-US" sz="1400" dirty="0" err="1">
                <a:solidFill>
                  <a:schemeClr val="dk1"/>
                </a:solidFill>
              </a:rPr>
              <a:t>alcaldías</a:t>
            </a:r>
            <a:r>
              <a:rPr lang="en-US" sz="1400" dirty="0">
                <a:solidFill>
                  <a:schemeClr val="dk1"/>
                </a:solidFill>
              </a:rPr>
              <a:t> que no </a:t>
            </a:r>
            <a:r>
              <a:rPr lang="en-US" sz="1400" dirty="0" err="1">
                <a:solidFill>
                  <a:schemeClr val="dk1"/>
                </a:solidFill>
              </a:rPr>
              <a:t>pertencen</a:t>
            </a:r>
            <a:r>
              <a:rPr lang="en-US" sz="1400" dirty="0">
                <a:solidFill>
                  <a:schemeClr val="dk1"/>
                </a:solidFill>
              </a:rPr>
              <a:t> a la CDMX y que </a:t>
            </a:r>
            <a:r>
              <a:rPr lang="en-US" sz="1400" dirty="0" err="1">
                <a:solidFill>
                  <a:schemeClr val="dk1"/>
                </a:solidFill>
              </a:rPr>
              <a:t>presentan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muy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pocos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datos</a:t>
            </a:r>
            <a:r>
              <a:rPr lang="en-US" sz="1400" dirty="0">
                <a:solidFill>
                  <a:schemeClr val="dk1"/>
                </a:solidFill>
              </a:rPr>
              <a:t>. He </a:t>
            </a:r>
            <a:r>
              <a:rPr lang="en-US" sz="1400" dirty="0" err="1">
                <a:solidFill>
                  <a:schemeClr val="dk1"/>
                </a:solidFill>
              </a:rPr>
              <a:t>considerado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como</a:t>
            </a:r>
            <a:r>
              <a:rPr lang="en-US" sz="1400" dirty="0">
                <a:solidFill>
                  <a:schemeClr val="dk1"/>
                </a:solidFill>
              </a:rPr>
              <a:t> 59 el </a:t>
            </a:r>
            <a:r>
              <a:rPr lang="en-US" sz="1400" dirty="0" err="1">
                <a:solidFill>
                  <a:schemeClr val="dk1"/>
                </a:solidFill>
              </a:rPr>
              <a:t>número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mínimo</a:t>
            </a:r>
            <a:r>
              <a:rPr lang="en-US" sz="1400" dirty="0">
                <a:solidFill>
                  <a:schemeClr val="dk1"/>
                </a:solidFill>
              </a:rPr>
              <a:t> de </a:t>
            </a:r>
            <a:r>
              <a:rPr lang="en-US" sz="1400" dirty="0" err="1">
                <a:solidFill>
                  <a:schemeClr val="dk1"/>
                </a:solidFill>
              </a:rPr>
              <a:t>incidencias</a:t>
            </a:r>
            <a:r>
              <a:rPr lang="en-US" sz="1400" dirty="0">
                <a:solidFill>
                  <a:schemeClr val="dk1"/>
                </a:solidFill>
              </a:rPr>
              <a:t>. Y </a:t>
            </a:r>
            <a:r>
              <a:rPr lang="en-US" sz="1400" dirty="0" err="1">
                <a:solidFill>
                  <a:schemeClr val="dk1"/>
                </a:solidFill>
              </a:rPr>
              <a:t>corresponde</a:t>
            </a:r>
            <a:r>
              <a:rPr lang="en-US" sz="1400" dirty="0">
                <a:solidFill>
                  <a:schemeClr val="dk1"/>
                </a:solidFill>
              </a:rPr>
              <a:t> a la </a:t>
            </a:r>
            <a:r>
              <a:rPr lang="en-US" sz="1400" dirty="0" err="1">
                <a:solidFill>
                  <a:schemeClr val="dk1"/>
                </a:solidFill>
              </a:rPr>
              <a:t>alcaldía</a:t>
            </a:r>
            <a:r>
              <a:rPr lang="en-US" sz="1400" dirty="0">
                <a:solidFill>
                  <a:schemeClr val="dk1"/>
                </a:solidFill>
              </a:rPr>
              <a:t> de </a:t>
            </a:r>
            <a:r>
              <a:rPr lang="en-US" sz="1400" dirty="0" err="1">
                <a:solidFill>
                  <a:schemeClr val="dk1"/>
                </a:solidFill>
              </a:rPr>
              <a:t>Ocoyoacac</a:t>
            </a:r>
            <a:r>
              <a:rPr lang="en-US" sz="1400" dirty="0">
                <a:solidFill>
                  <a:schemeClr val="dk1"/>
                </a:solidFill>
              </a:rPr>
              <a:t>. La </a:t>
            </a:r>
            <a:r>
              <a:rPr lang="en-US" sz="1400" dirty="0" err="1">
                <a:solidFill>
                  <a:schemeClr val="dk1"/>
                </a:solidFill>
              </a:rPr>
              <a:t>razón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puede</a:t>
            </a:r>
            <a:r>
              <a:rPr lang="en-US" sz="1400" dirty="0">
                <a:solidFill>
                  <a:schemeClr val="dk1"/>
                </a:solidFill>
              </a:rPr>
              <a:t> ser la </a:t>
            </a:r>
            <a:r>
              <a:rPr lang="en-US" sz="1400" dirty="0" err="1">
                <a:solidFill>
                  <a:schemeClr val="dk1"/>
                </a:solidFill>
              </a:rPr>
              <a:t>ubicación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geográfica</a:t>
            </a:r>
            <a:r>
              <a:rPr lang="en-US" sz="1400" dirty="0">
                <a:solidFill>
                  <a:schemeClr val="dk1"/>
                </a:solidFill>
              </a:rPr>
              <a:t> de </a:t>
            </a:r>
            <a:r>
              <a:rPr lang="en-US" sz="1400" dirty="0" err="1">
                <a:solidFill>
                  <a:schemeClr val="dk1"/>
                </a:solidFill>
              </a:rPr>
              <a:t>esta</a:t>
            </a:r>
            <a:r>
              <a:rPr lang="en-US" sz="1400" dirty="0">
                <a:solidFill>
                  <a:schemeClr val="dk1"/>
                </a:solidFill>
              </a:rPr>
              <a:t>, </a:t>
            </a:r>
            <a:r>
              <a:rPr lang="en-US" sz="1400" dirty="0" err="1">
                <a:solidFill>
                  <a:schemeClr val="dk1"/>
                </a:solidFill>
              </a:rPr>
              <a:t>pues</a:t>
            </a:r>
            <a:r>
              <a:rPr lang="en-US" sz="1400" dirty="0">
                <a:solidFill>
                  <a:schemeClr val="dk1"/>
                </a:solidFill>
              </a:rPr>
              <a:t> se </a:t>
            </a:r>
            <a:r>
              <a:rPr lang="en-US" sz="1400" dirty="0" err="1">
                <a:solidFill>
                  <a:schemeClr val="dk1"/>
                </a:solidFill>
              </a:rPr>
              <a:t>encunentra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en</a:t>
            </a:r>
            <a:r>
              <a:rPr lang="en-US" sz="1400" dirty="0">
                <a:solidFill>
                  <a:schemeClr val="dk1"/>
                </a:solidFill>
              </a:rPr>
              <a:t> las </a:t>
            </a:r>
            <a:r>
              <a:rPr lang="en-US" sz="1400" dirty="0" err="1">
                <a:solidFill>
                  <a:schemeClr val="dk1"/>
                </a:solidFill>
              </a:rPr>
              <a:t>próximidades</a:t>
            </a:r>
            <a:r>
              <a:rPr lang="en-US" sz="1400" dirty="0">
                <a:solidFill>
                  <a:schemeClr val="dk1"/>
                </a:solidFill>
              </a:rPr>
              <a:t> de Toluca (</a:t>
            </a:r>
            <a:r>
              <a:rPr lang="en-US" sz="1400" dirty="0" err="1">
                <a:solidFill>
                  <a:schemeClr val="dk1"/>
                </a:solidFill>
              </a:rPr>
              <a:t>alcaldía</a:t>
            </a:r>
            <a:r>
              <a:rPr lang="en-US" sz="1400" dirty="0">
                <a:solidFill>
                  <a:schemeClr val="dk1"/>
                </a:solidFill>
              </a:rPr>
              <a:t> que </a:t>
            </a:r>
            <a:r>
              <a:rPr lang="en-US" sz="1400" dirty="0" err="1">
                <a:solidFill>
                  <a:schemeClr val="dk1"/>
                </a:solidFill>
              </a:rPr>
              <a:t>tambien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presenta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inciudencias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bajas</a:t>
            </a:r>
            <a:r>
              <a:rPr lang="en-US" sz="1400" dirty="0">
                <a:solidFill>
                  <a:schemeClr val="dk1"/>
                </a:solidFill>
              </a:rPr>
              <a:t>).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F4B24A26-FF8C-4712-847B-31416CD15CC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68086" y="858417"/>
            <a:ext cx="4665038" cy="2295115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C4946F85-93A8-464F-BA0D-772F182A033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668086" y="3366858"/>
            <a:ext cx="4665038" cy="240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4103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to 4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5" name="Slide do think-cell" r:id="rId6" imgW="270" imgH="270" progId="TCLayout.ActiveDocument.1">
                  <p:embed/>
                </p:oleObj>
              </mc:Choice>
              <mc:Fallback>
                <p:oleObj name="Slide do think-cell" r:id="rId6" imgW="270" imgH="270" progId="TCLayout.ActiveDocument.1">
                  <p:embed/>
                  <p:pic>
                    <p:nvPicPr>
                      <p:cNvPr id="49" name="Objeto 4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Retângulo 4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US" sz="16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54745" y="0"/>
            <a:ext cx="10475155" cy="540000"/>
          </a:xfrm>
        </p:spPr>
        <p:txBody>
          <a:bodyPr vert="horz" anchor="ctr">
            <a:normAutofit fontScale="90000"/>
          </a:bodyPr>
          <a:lstStyle/>
          <a:p>
            <a:r>
              <a:rPr lang="es-ES" sz="1800" dirty="0"/>
              <a:t>¿Cuál es la alcaldía que más delitos tiene y cuál es la que menos?¿Por qué crees que sea</a:t>
            </a:r>
            <a:br>
              <a:rPr lang="es-ES" sz="1800" dirty="0"/>
            </a:br>
            <a:r>
              <a:rPr lang="es-ES" sz="1800" dirty="0"/>
              <a:t>esto?</a:t>
            </a:r>
            <a:endParaRPr lang="en-US" sz="1800" dirty="0"/>
          </a:p>
        </p:txBody>
      </p:sp>
      <p:sp>
        <p:nvSpPr>
          <p:cNvPr id="57" name="Retângulo 50">
            <a:extLst>
              <a:ext uri="{FF2B5EF4-FFF2-40B4-BE49-F238E27FC236}">
                <a16:creationId xmlns:a16="http://schemas.microsoft.com/office/drawing/2014/main" id="{1B8D716F-5E01-4E3D-ADAF-72435BED8FA3}"/>
              </a:ext>
            </a:extLst>
          </p:cNvPr>
          <p:cNvSpPr/>
          <p:nvPr/>
        </p:nvSpPr>
        <p:spPr>
          <a:xfrm>
            <a:off x="581336" y="753326"/>
            <a:ext cx="10848663" cy="5675466"/>
          </a:xfrm>
          <a:prstGeom prst="rect">
            <a:avLst/>
          </a:prstGeom>
          <a:noFill/>
          <a:ln w="50800" cap="flat" cmpd="sng" algn="ctr">
            <a:solidFill>
              <a:srgbClr val="595959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60" name="Google Shape;813;p64">
            <a:extLst>
              <a:ext uri="{FF2B5EF4-FFF2-40B4-BE49-F238E27FC236}">
                <a16:creationId xmlns:a16="http://schemas.microsoft.com/office/drawing/2014/main" id="{544B8917-C575-4AD5-A9B4-CB7AFF2A64D2}"/>
              </a:ext>
            </a:extLst>
          </p:cNvPr>
          <p:cNvSpPr txBox="1">
            <a:spLocks/>
          </p:cNvSpPr>
          <p:nvPr/>
        </p:nvSpPr>
        <p:spPr>
          <a:xfrm>
            <a:off x="762001" y="900908"/>
            <a:ext cx="4836941" cy="5426064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US" sz="1400" dirty="0">
                <a:solidFill>
                  <a:schemeClr val="dk1"/>
                </a:solidFill>
              </a:rPr>
              <a:t>Para </a:t>
            </a:r>
            <a:r>
              <a:rPr lang="en-US" sz="1400" dirty="0" err="1">
                <a:solidFill>
                  <a:schemeClr val="dk1"/>
                </a:solidFill>
              </a:rPr>
              <a:t>este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análisis</a:t>
            </a:r>
            <a:r>
              <a:rPr lang="en-US" sz="1400" dirty="0">
                <a:solidFill>
                  <a:schemeClr val="dk1"/>
                </a:solidFill>
              </a:rPr>
              <a:t>, he </a:t>
            </a:r>
            <a:r>
              <a:rPr lang="en-US" sz="1400" dirty="0" err="1">
                <a:solidFill>
                  <a:schemeClr val="dk1"/>
                </a:solidFill>
              </a:rPr>
              <a:t>optado</a:t>
            </a:r>
            <a:r>
              <a:rPr lang="en-US" sz="1400" dirty="0">
                <a:solidFill>
                  <a:schemeClr val="dk1"/>
                </a:solidFill>
              </a:rPr>
              <a:t> por </a:t>
            </a:r>
            <a:r>
              <a:rPr lang="en-US" sz="1400" dirty="0" err="1">
                <a:solidFill>
                  <a:schemeClr val="dk1"/>
                </a:solidFill>
              </a:rPr>
              <a:t>retirar</a:t>
            </a:r>
            <a:r>
              <a:rPr lang="en-US" sz="1400" dirty="0">
                <a:solidFill>
                  <a:schemeClr val="dk1"/>
                </a:solidFill>
              </a:rPr>
              <a:t> los </a:t>
            </a:r>
            <a:r>
              <a:rPr lang="en-US" sz="1400" dirty="0" err="1">
                <a:solidFill>
                  <a:schemeClr val="dk1"/>
                </a:solidFill>
              </a:rPr>
              <a:t>delitos</a:t>
            </a:r>
            <a:r>
              <a:rPr lang="en-US" sz="1400" dirty="0">
                <a:solidFill>
                  <a:schemeClr val="dk1"/>
                </a:solidFill>
              </a:rPr>
              <a:t> que </a:t>
            </a:r>
            <a:r>
              <a:rPr lang="en-US" sz="1400" dirty="0" err="1">
                <a:solidFill>
                  <a:schemeClr val="dk1"/>
                </a:solidFill>
              </a:rPr>
              <a:t>presentan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mucha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frecuencia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en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todas</a:t>
            </a:r>
            <a:r>
              <a:rPr lang="en-US" sz="1400" dirty="0">
                <a:solidFill>
                  <a:schemeClr val="dk1"/>
                </a:solidFill>
              </a:rPr>
              <a:t> las </a:t>
            </a:r>
            <a:r>
              <a:rPr lang="en-US" sz="1400" dirty="0" err="1">
                <a:solidFill>
                  <a:schemeClr val="dk1"/>
                </a:solidFill>
              </a:rPr>
              <a:t>alcaldías</a:t>
            </a:r>
            <a:r>
              <a:rPr lang="en-US" sz="1400" dirty="0">
                <a:solidFill>
                  <a:schemeClr val="dk1"/>
                </a:solidFill>
              </a:rPr>
              <a:t> (DELITO DE BAJO IMPACTO, </a:t>
            </a:r>
            <a:r>
              <a:rPr lang="es-ES" sz="1400" dirty="0">
                <a:solidFill>
                  <a:schemeClr val="dk1"/>
                </a:solidFill>
              </a:rPr>
              <a:t>ROBO DE VEHÃCULO CON Y SIN VIOLENCIA, ROBO A TRANSEUNTE EN VÃA </a:t>
            </a:r>
            <a:r>
              <a:rPr lang="es-ES" sz="1400" dirty="0" err="1">
                <a:solidFill>
                  <a:schemeClr val="dk1"/>
                </a:solidFill>
              </a:rPr>
              <a:t>PÃšBLICA</a:t>
            </a:r>
            <a:r>
              <a:rPr lang="es-ES" sz="1400" dirty="0">
                <a:solidFill>
                  <a:schemeClr val="dk1"/>
                </a:solidFill>
              </a:rPr>
              <a:t> CON Y SIN VIOLENCIA, </a:t>
            </a:r>
            <a:r>
              <a:rPr lang="es-ES" sz="1400" dirty="0" err="1">
                <a:solidFill>
                  <a:schemeClr val="dk1"/>
                </a:solidFill>
              </a:rPr>
              <a:t>etc</a:t>
            </a:r>
            <a:r>
              <a:rPr lang="en-US" sz="1400" dirty="0">
                <a:solidFill>
                  <a:schemeClr val="dk1"/>
                </a:solidFill>
              </a:rPr>
              <a:t>).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US" sz="1400" dirty="0">
                <a:solidFill>
                  <a:schemeClr val="dk1"/>
                </a:solidFill>
              </a:rPr>
              <a:t>Este </a:t>
            </a:r>
            <a:r>
              <a:rPr lang="en-US" sz="1400" dirty="0" err="1">
                <a:solidFill>
                  <a:schemeClr val="dk1"/>
                </a:solidFill>
              </a:rPr>
              <a:t>filtrado</a:t>
            </a:r>
            <a:r>
              <a:rPr lang="en-US" sz="1400" dirty="0">
                <a:solidFill>
                  <a:schemeClr val="dk1"/>
                </a:solidFill>
              </a:rPr>
              <a:t> lo </a:t>
            </a:r>
            <a:r>
              <a:rPr lang="en-US" sz="1400" dirty="0" err="1">
                <a:solidFill>
                  <a:schemeClr val="dk1"/>
                </a:solidFill>
              </a:rPr>
              <a:t>hago</a:t>
            </a:r>
            <a:r>
              <a:rPr lang="en-US" sz="1400" dirty="0">
                <a:solidFill>
                  <a:schemeClr val="dk1"/>
                </a:solidFill>
              </a:rPr>
              <a:t> con el fin de </a:t>
            </a:r>
            <a:r>
              <a:rPr lang="en-US" sz="1400" dirty="0" err="1">
                <a:solidFill>
                  <a:schemeClr val="dk1"/>
                </a:solidFill>
              </a:rPr>
              <a:t>encontrar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realmente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aquellos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delitos</a:t>
            </a:r>
            <a:r>
              <a:rPr lang="en-US" sz="1400" dirty="0">
                <a:solidFill>
                  <a:schemeClr val="dk1"/>
                </a:solidFill>
              </a:rPr>
              <a:t> que SI </a:t>
            </a:r>
            <a:r>
              <a:rPr lang="en-US" sz="1400" dirty="0" err="1">
                <a:solidFill>
                  <a:schemeClr val="dk1"/>
                </a:solidFill>
              </a:rPr>
              <a:t>resaltan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en</a:t>
            </a:r>
            <a:r>
              <a:rPr lang="en-US" sz="1400" dirty="0">
                <a:solidFill>
                  <a:schemeClr val="dk1"/>
                </a:solidFill>
              </a:rPr>
              <a:t> una </a:t>
            </a:r>
            <a:r>
              <a:rPr lang="en-US" sz="1400" dirty="0" err="1">
                <a:solidFill>
                  <a:schemeClr val="dk1"/>
                </a:solidFill>
              </a:rPr>
              <a:t>alcaldía</a:t>
            </a:r>
            <a:r>
              <a:rPr lang="en-US" sz="1400" dirty="0">
                <a:solidFill>
                  <a:schemeClr val="dk1"/>
                </a:solidFill>
              </a:rPr>
              <a:t>.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US" sz="1400" dirty="0">
                <a:solidFill>
                  <a:schemeClr val="dk1"/>
                </a:solidFill>
              </a:rPr>
              <a:t>El </a:t>
            </a:r>
            <a:r>
              <a:rPr lang="en-US" sz="1400" dirty="0" err="1">
                <a:solidFill>
                  <a:schemeClr val="dk1"/>
                </a:solidFill>
              </a:rPr>
              <a:t>hallazgo</a:t>
            </a:r>
            <a:r>
              <a:rPr lang="en-US" sz="1400" dirty="0">
                <a:solidFill>
                  <a:schemeClr val="dk1"/>
                </a:solidFill>
              </a:rPr>
              <a:t> principal es que </a:t>
            </a:r>
            <a:r>
              <a:rPr lang="en-US" sz="1400" dirty="0" err="1">
                <a:solidFill>
                  <a:schemeClr val="dk1"/>
                </a:solidFill>
              </a:rPr>
              <a:t>en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Iztapalapa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presenta</a:t>
            </a:r>
            <a:r>
              <a:rPr lang="en-US" sz="1400" dirty="0">
                <a:solidFill>
                  <a:schemeClr val="dk1"/>
                </a:solidFill>
              </a:rPr>
              <a:t> una mayor </a:t>
            </a:r>
            <a:r>
              <a:rPr lang="en-US" sz="1400" dirty="0" err="1">
                <a:solidFill>
                  <a:schemeClr val="dk1"/>
                </a:solidFill>
              </a:rPr>
              <a:t>incidencia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en</a:t>
            </a:r>
            <a:r>
              <a:rPr lang="en-US" sz="1400" dirty="0">
                <a:solidFill>
                  <a:schemeClr val="dk1"/>
                </a:solidFill>
              </a:rPr>
              <a:t> ROBO A NEGOCIO CON VIOLENCIA. 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US" sz="1400" dirty="0">
                <a:solidFill>
                  <a:schemeClr val="dk1"/>
                </a:solidFill>
              </a:rPr>
              <a:t>Es </a:t>
            </a:r>
            <a:r>
              <a:rPr lang="en-US" sz="1400" dirty="0" err="1">
                <a:solidFill>
                  <a:schemeClr val="dk1"/>
                </a:solidFill>
              </a:rPr>
              <a:t>decir</a:t>
            </a:r>
            <a:r>
              <a:rPr lang="en-US" sz="1400" dirty="0">
                <a:solidFill>
                  <a:schemeClr val="dk1"/>
                </a:solidFill>
              </a:rPr>
              <a:t>, </a:t>
            </a:r>
            <a:r>
              <a:rPr lang="en-US" sz="1400" dirty="0" err="1">
                <a:solidFill>
                  <a:schemeClr val="dk1"/>
                </a:solidFill>
              </a:rPr>
              <a:t>en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esta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alcaldía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este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delito</a:t>
            </a:r>
            <a:r>
              <a:rPr lang="en-US" sz="1400" dirty="0">
                <a:solidFill>
                  <a:schemeClr val="dk1"/>
                </a:solidFill>
              </a:rPr>
              <a:t> es el </a:t>
            </a:r>
            <a:r>
              <a:rPr lang="en-US" sz="1400" dirty="0" err="1">
                <a:solidFill>
                  <a:schemeClr val="dk1"/>
                </a:solidFill>
              </a:rPr>
              <a:t>más</a:t>
            </a:r>
            <a:r>
              <a:rPr lang="en-US" sz="1400" dirty="0">
                <a:solidFill>
                  <a:schemeClr val="dk1"/>
                </a:solidFill>
              </a:rPr>
              <a:t> representative </a:t>
            </a:r>
            <a:r>
              <a:rPr lang="en-US" sz="1400" dirty="0" err="1">
                <a:solidFill>
                  <a:schemeClr val="dk1"/>
                </a:solidFill>
              </a:rPr>
              <a:t>frente</a:t>
            </a:r>
            <a:r>
              <a:rPr lang="en-US" sz="1400" dirty="0">
                <a:solidFill>
                  <a:schemeClr val="dk1"/>
                </a:solidFill>
              </a:rPr>
              <a:t> a las </a:t>
            </a:r>
            <a:r>
              <a:rPr lang="en-US" sz="1400" dirty="0" err="1">
                <a:solidFill>
                  <a:schemeClr val="dk1"/>
                </a:solidFill>
              </a:rPr>
              <a:t>otras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alcaldías</a:t>
            </a:r>
            <a:r>
              <a:rPr lang="en-US" sz="1400" dirty="0">
                <a:solidFill>
                  <a:schemeClr val="dk1"/>
                </a:solidFill>
              </a:rPr>
              <a:t>.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endParaRPr lang="en-US" sz="1400" dirty="0">
              <a:solidFill>
                <a:schemeClr val="dk1"/>
              </a:solidFill>
            </a:endParaRPr>
          </a:p>
          <a:p>
            <a:pPr>
              <a:lnSpc>
                <a:spcPct val="150000"/>
              </a:lnSpc>
              <a:spcBef>
                <a:spcPts val="0"/>
              </a:spcBef>
            </a:pPr>
            <a:endParaRPr lang="en-US" sz="1400" dirty="0">
              <a:solidFill>
                <a:schemeClr val="dk1"/>
              </a:solidFill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9B0083B4-9403-4ACA-A099-8ABCA8FB2CE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779607" y="900908"/>
            <a:ext cx="5527410" cy="5203766"/>
          </a:xfrm>
          <a:prstGeom prst="rect">
            <a:avLst/>
          </a:prstGeom>
        </p:spPr>
      </p:pic>
      <p:sp>
        <p:nvSpPr>
          <p:cNvPr id="6" name="Elipse 5">
            <a:extLst>
              <a:ext uri="{FF2B5EF4-FFF2-40B4-BE49-F238E27FC236}">
                <a16:creationId xmlns:a16="http://schemas.microsoft.com/office/drawing/2014/main" id="{108DE28A-F500-4695-B613-B109F30FFEE6}"/>
              </a:ext>
            </a:extLst>
          </p:cNvPr>
          <p:cNvSpPr/>
          <p:nvPr/>
        </p:nvSpPr>
        <p:spPr>
          <a:xfrm>
            <a:off x="7714316" y="1123206"/>
            <a:ext cx="633046" cy="564917"/>
          </a:xfrm>
          <a:prstGeom prst="ellipse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783444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to 4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2" name="Slide do think-cell" r:id="rId6" imgW="270" imgH="270" progId="TCLayout.ActiveDocument.1">
                  <p:embed/>
                </p:oleObj>
              </mc:Choice>
              <mc:Fallback>
                <p:oleObj name="Slide do think-cell" r:id="rId6" imgW="270" imgH="270" progId="TCLayout.ActiveDocument.1">
                  <p:embed/>
                  <p:pic>
                    <p:nvPicPr>
                      <p:cNvPr id="49" name="Objeto 4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Retângulo 4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US" sz="16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54745" y="0"/>
            <a:ext cx="10475155" cy="540000"/>
          </a:xfrm>
        </p:spPr>
        <p:txBody>
          <a:bodyPr vert="horz" anchor="ctr">
            <a:normAutofit/>
          </a:bodyPr>
          <a:lstStyle/>
          <a:p>
            <a:r>
              <a:rPr lang="es-ES" sz="1800" dirty="0"/>
              <a:t>Diseña un indicador que mida el nivel de “inseguridad”</a:t>
            </a:r>
            <a:endParaRPr lang="en-US" sz="1800" dirty="0"/>
          </a:p>
        </p:txBody>
      </p:sp>
      <p:sp>
        <p:nvSpPr>
          <p:cNvPr id="57" name="Retângulo 50">
            <a:extLst>
              <a:ext uri="{FF2B5EF4-FFF2-40B4-BE49-F238E27FC236}">
                <a16:creationId xmlns:a16="http://schemas.microsoft.com/office/drawing/2014/main" id="{1B8D716F-5E01-4E3D-ADAF-72435BED8FA3}"/>
              </a:ext>
            </a:extLst>
          </p:cNvPr>
          <p:cNvSpPr/>
          <p:nvPr/>
        </p:nvSpPr>
        <p:spPr>
          <a:xfrm>
            <a:off x="581336" y="753326"/>
            <a:ext cx="10848663" cy="5675466"/>
          </a:xfrm>
          <a:prstGeom prst="rect">
            <a:avLst/>
          </a:prstGeom>
          <a:noFill/>
          <a:ln w="50800" cap="flat" cmpd="sng" algn="ctr">
            <a:solidFill>
              <a:srgbClr val="595959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60" name="Google Shape;813;p64">
            <a:extLst>
              <a:ext uri="{FF2B5EF4-FFF2-40B4-BE49-F238E27FC236}">
                <a16:creationId xmlns:a16="http://schemas.microsoft.com/office/drawing/2014/main" id="{544B8917-C575-4AD5-A9B4-CB7AFF2A64D2}"/>
              </a:ext>
            </a:extLst>
          </p:cNvPr>
          <p:cNvSpPr txBox="1">
            <a:spLocks/>
          </p:cNvSpPr>
          <p:nvPr/>
        </p:nvSpPr>
        <p:spPr>
          <a:xfrm>
            <a:off x="762001" y="900908"/>
            <a:ext cx="4836941" cy="5426064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s-ES" sz="1400" dirty="0">
                <a:solidFill>
                  <a:schemeClr val="dk1"/>
                </a:solidFill>
              </a:rPr>
              <a:t>Un indicador interesante sería medir las incidencias por cada 1000 </a:t>
            </a:r>
            <a:r>
              <a:rPr lang="es-ES" sz="1400" dirty="0" err="1">
                <a:solidFill>
                  <a:schemeClr val="dk1"/>
                </a:solidFill>
              </a:rPr>
              <a:t>ó</a:t>
            </a:r>
            <a:r>
              <a:rPr lang="es-ES" sz="1400" dirty="0">
                <a:solidFill>
                  <a:schemeClr val="dk1"/>
                </a:solidFill>
              </a:rPr>
              <a:t> 100,000 habitantes, pero al no contar con la población por alcaldía este indicador queda descartado.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US" sz="1400" dirty="0">
                <a:solidFill>
                  <a:schemeClr val="dk1"/>
                </a:solidFill>
              </a:rPr>
              <a:t>Dado que temenos las </a:t>
            </a:r>
            <a:r>
              <a:rPr lang="en-US" sz="1400" dirty="0" err="1">
                <a:solidFill>
                  <a:schemeClr val="dk1"/>
                </a:solidFill>
              </a:rPr>
              <a:t>fechas</a:t>
            </a:r>
            <a:r>
              <a:rPr lang="en-US" sz="1400" dirty="0">
                <a:solidFill>
                  <a:schemeClr val="dk1"/>
                </a:solidFill>
              </a:rPr>
              <a:t> de la </a:t>
            </a:r>
            <a:r>
              <a:rPr lang="en-US" sz="1400" dirty="0" err="1">
                <a:solidFill>
                  <a:schemeClr val="dk1"/>
                </a:solidFill>
              </a:rPr>
              <a:t>incidencia</a:t>
            </a:r>
            <a:r>
              <a:rPr lang="en-US" sz="1400" dirty="0">
                <a:solidFill>
                  <a:schemeClr val="dk1"/>
                </a:solidFill>
              </a:rPr>
              <a:t>, el </a:t>
            </a:r>
            <a:r>
              <a:rPr lang="en-US" sz="1400" dirty="0" err="1">
                <a:solidFill>
                  <a:schemeClr val="dk1"/>
                </a:solidFill>
              </a:rPr>
              <a:t>indicador</a:t>
            </a:r>
            <a:r>
              <a:rPr lang="en-US" sz="1400" dirty="0">
                <a:solidFill>
                  <a:schemeClr val="dk1"/>
                </a:solidFill>
              </a:rPr>
              <a:t> que </a:t>
            </a:r>
            <a:r>
              <a:rPr lang="en-US" sz="1400" dirty="0" err="1">
                <a:solidFill>
                  <a:schemeClr val="dk1"/>
                </a:solidFill>
              </a:rPr>
              <a:t>propongo</a:t>
            </a:r>
            <a:r>
              <a:rPr lang="en-US" sz="1400" dirty="0">
                <a:solidFill>
                  <a:schemeClr val="dk1"/>
                </a:solidFill>
              </a:rPr>
              <a:t> es: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Número</a:t>
            </a:r>
            <a:r>
              <a:rPr lang="en-US" sz="1400" dirty="0">
                <a:solidFill>
                  <a:schemeClr val="dk1"/>
                </a:solidFill>
              </a:rPr>
              <a:t> de </a:t>
            </a:r>
            <a:r>
              <a:rPr lang="en-US" sz="1400" dirty="0" err="1">
                <a:solidFill>
                  <a:schemeClr val="dk1"/>
                </a:solidFill>
              </a:rPr>
              <a:t>delitos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en</a:t>
            </a:r>
            <a:r>
              <a:rPr lang="en-US" sz="1400" dirty="0">
                <a:solidFill>
                  <a:schemeClr val="dk1"/>
                </a:solidFill>
              </a:rPr>
              <a:t> los </a:t>
            </a:r>
            <a:r>
              <a:rPr lang="en-US" sz="1400" dirty="0" err="1">
                <a:solidFill>
                  <a:schemeClr val="dk1"/>
                </a:solidFill>
              </a:rPr>
              <a:t>ultimos</a:t>
            </a:r>
            <a:r>
              <a:rPr lang="en-US" sz="1400" dirty="0">
                <a:solidFill>
                  <a:schemeClr val="dk1"/>
                </a:solidFill>
              </a:rPr>
              <a:t> 3 </a:t>
            </a:r>
            <a:r>
              <a:rPr lang="en-US" sz="1400" dirty="0" err="1">
                <a:solidFill>
                  <a:schemeClr val="dk1"/>
                </a:solidFill>
              </a:rPr>
              <a:t>meses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endParaRPr lang="en-US" sz="1400" dirty="0">
              <a:solidFill>
                <a:schemeClr val="dk1"/>
              </a:solidFill>
            </a:endParaRP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US" sz="1400" dirty="0">
                <a:solidFill>
                  <a:schemeClr val="dk1"/>
                </a:solidFill>
              </a:rPr>
              <a:t>Este </a:t>
            </a:r>
            <a:r>
              <a:rPr lang="en-US" sz="1400" dirty="0" err="1">
                <a:solidFill>
                  <a:schemeClr val="dk1"/>
                </a:solidFill>
              </a:rPr>
              <a:t>indicador</a:t>
            </a:r>
            <a:r>
              <a:rPr lang="en-US" sz="1400" dirty="0">
                <a:solidFill>
                  <a:schemeClr val="dk1"/>
                </a:solidFill>
              </a:rPr>
              <a:t> es </a:t>
            </a:r>
            <a:r>
              <a:rPr lang="en-US" sz="1400" dirty="0" err="1">
                <a:solidFill>
                  <a:schemeClr val="dk1"/>
                </a:solidFill>
              </a:rPr>
              <a:t>dinámico</a:t>
            </a:r>
            <a:r>
              <a:rPr lang="en-US" sz="1400" dirty="0">
                <a:solidFill>
                  <a:schemeClr val="dk1"/>
                </a:solidFill>
              </a:rPr>
              <a:t>, dado que se </a:t>
            </a:r>
            <a:r>
              <a:rPr lang="en-US" sz="1400" dirty="0" err="1">
                <a:solidFill>
                  <a:schemeClr val="dk1"/>
                </a:solidFill>
              </a:rPr>
              <a:t>cada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día</a:t>
            </a:r>
            <a:r>
              <a:rPr lang="en-US" sz="1400" dirty="0">
                <a:solidFill>
                  <a:schemeClr val="dk1"/>
                </a:solidFill>
              </a:rPr>
              <a:t> se </a:t>
            </a:r>
            <a:r>
              <a:rPr lang="en-US" sz="1400" dirty="0" err="1">
                <a:solidFill>
                  <a:schemeClr val="dk1"/>
                </a:solidFill>
              </a:rPr>
              <a:t>puede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actualizar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considerando</a:t>
            </a:r>
            <a:r>
              <a:rPr lang="en-US" sz="1400" dirty="0">
                <a:solidFill>
                  <a:schemeClr val="dk1"/>
                </a:solidFill>
              </a:rPr>
              <a:t> los </a:t>
            </a:r>
            <a:r>
              <a:rPr lang="en-US" sz="1400" dirty="0" err="1">
                <a:solidFill>
                  <a:schemeClr val="dk1"/>
                </a:solidFill>
              </a:rPr>
              <a:t>ùltimos</a:t>
            </a:r>
            <a:r>
              <a:rPr lang="en-US" sz="1400" dirty="0">
                <a:solidFill>
                  <a:schemeClr val="dk1"/>
                </a:solidFill>
              </a:rPr>
              <a:t> 90 </a:t>
            </a:r>
            <a:r>
              <a:rPr lang="en-US" sz="1400" dirty="0" err="1">
                <a:solidFill>
                  <a:schemeClr val="dk1"/>
                </a:solidFill>
              </a:rPr>
              <a:t>días</a:t>
            </a:r>
            <a:r>
              <a:rPr lang="en-US" sz="1400" dirty="0">
                <a:solidFill>
                  <a:schemeClr val="dk1"/>
                </a:solidFill>
              </a:rPr>
              <a:t>.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endParaRPr lang="en-US" sz="1400" dirty="0">
              <a:solidFill>
                <a:schemeClr val="dk1"/>
              </a:solidFill>
            </a:endParaRPr>
          </a:p>
          <a:p>
            <a:pPr>
              <a:lnSpc>
                <a:spcPct val="150000"/>
              </a:lnSpc>
              <a:spcBef>
                <a:spcPts val="0"/>
              </a:spcBef>
            </a:pPr>
            <a:endParaRPr lang="en-US" sz="1400" dirty="0">
              <a:solidFill>
                <a:schemeClr val="dk1"/>
              </a:solidFill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9EFCE004-7658-4930-8FBD-705827A59D9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34150" y="1115217"/>
            <a:ext cx="3695750" cy="4627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0728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2" name="Slide do think-cell" r:id="rId5" imgW="471" imgH="472" progId="TCLayout.ActiveDocument.1">
                  <p:embed/>
                </p:oleObj>
              </mc:Choice>
              <mc:Fallback>
                <p:oleObj name="Slide do think-cell" r:id="rId5" imgW="471" imgH="472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m 4" descr="Uma imagem contendo relógio, placar&#10;&#10;Descrição gerada automaticamente">
            <a:extLst>
              <a:ext uri="{FF2B5EF4-FFF2-40B4-BE49-F238E27FC236}">
                <a16:creationId xmlns:a16="http://schemas.microsoft.com/office/drawing/2014/main" id="{90DB585C-2C65-4B29-8439-7441CC05279D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592" r="93229" b="37408"/>
          <a:stretch/>
        </p:blipFill>
        <p:spPr>
          <a:xfrm>
            <a:off x="0" y="1892300"/>
            <a:ext cx="494270" cy="2400300"/>
          </a:xfrm>
          <a:prstGeom prst="rect">
            <a:avLst/>
          </a:prstGeom>
        </p:spPr>
      </p:pic>
      <p:pic>
        <p:nvPicPr>
          <p:cNvPr id="25" name="Imagem 24" descr="Uma imagem contendo relógio, placar&#10;&#10;Descrição gerada automaticamente">
            <a:extLst>
              <a:ext uri="{FF2B5EF4-FFF2-40B4-BE49-F238E27FC236}">
                <a16:creationId xmlns:a16="http://schemas.microsoft.com/office/drawing/2014/main" id="{7F3A5663-6668-4DDA-B3E9-1F68076D0BE2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941" t="74629" r="3329" b="1"/>
          <a:stretch/>
        </p:blipFill>
        <p:spPr>
          <a:xfrm rot="16200000">
            <a:off x="10066121" y="5242571"/>
            <a:ext cx="2527300" cy="1739898"/>
          </a:xfrm>
          <a:prstGeom prst="rect">
            <a:avLst/>
          </a:prstGeom>
        </p:spPr>
      </p:pic>
      <p:sp>
        <p:nvSpPr>
          <p:cNvPr id="32" name="CaixaDeTexto 31">
            <a:extLst>
              <a:ext uri="{FF2B5EF4-FFF2-40B4-BE49-F238E27FC236}">
                <a16:creationId xmlns:a16="http://schemas.microsoft.com/office/drawing/2014/main" id="{A9FCFD32-AFE4-4B92-A520-1AC75A7850CA}"/>
              </a:ext>
            </a:extLst>
          </p:cNvPr>
          <p:cNvSpPr txBox="1"/>
          <p:nvPr/>
        </p:nvSpPr>
        <p:spPr>
          <a:xfrm>
            <a:off x="809273" y="370929"/>
            <a:ext cx="29059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600" b="1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Contenido</a:t>
            </a:r>
            <a:endParaRPr kumimoji="0" lang="pt-BR" sz="4800" b="1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33" name="CaixaDeTexto 32">
            <a:extLst>
              <a:ext uri="{FF2B5EF4-FFF2-40B4-BE49-F238E27FC236}">
                <a16:creationId xmlns:a16="http://schemas.microsoft.com/office/drawing/2014/main" id="{AE786C73-13C9-4D44-8598-15C2FBDF2A2B}"/>
              </a:ext>
            </a:extLst>
          </p:cNvPr>
          <p:cNvSpPr txBox="1"/>
          <p:nvPr/>
        </p:nvSpPr>
        <p:spPr>
          <a:xfrm>
            <a:off x="809271" y="1666960"/>
            <a:ext cx="10523481" cy="1109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1 –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Secció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A</a:t>
            </a:r>
          </a:p>
          <a:p>
            <a:pPr>
              <a:lnSpc>
                <a:spcPct val="200000"/>
              </a:lnSpc>
              <a:defRPr/>
            </a:pPr>
            <a:r>
              <a:rPr lang="en-US" b="1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 – </a:t>
            </a:r>
            <a:r>
              <a:rPr lang="en-US" b="1" dirty="0" err="1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ección</a:t>
            </a:r>
            <a:r>
              <a:rPr lang="en-US" b="1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B</a:t>
            </a:r>
          </a:p>
        </p:txBody>
      </p:sp>
      <p:pic>
        <p:nvPicPr>
          <p:cNvPr id="8" name="Imagem 7" descr="Uma imagem contendo relógio, placar&#10;&#10;Descrição gerada automaticamente">
            <a:extLst>
              <a:ext uri="{FF2B5EF4-FFF2-40B4-BE49-F238E27FC236}">
                <a16:creationId xmlns:a16="http://schemas.microsoft.com/office/drawing/2014/main" id="{50E85C8D-395D-4AAF-9737-CE64CEFD5EAE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5" r="61978" b="91111"/>
          <a:stretch/>
        </p:blipFill>
        <p:spPr>
          <a:xfrm>
            <a:off x="406400" y="0"/>
            <a:ext cx="4229100" cy="444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2818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to 4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6" name="Slide do think-cell" r:id="rId6" imgW="270" imgH="270" progId="TCLayout.ActiveDocument.1">
                  <p:embed/>
                </p:oleObj>
              </mc:Choice>
              <mc:Fallback>
                <p:oleObj name="Slide do think-cell" r:id="rId6" imgW="270" imgH="270" progId="TCLayout.ActiveDocument.1">
                  <p:embed/>
                  <p:pic>
                    <p:nvPicPr>
                      <p:cNvPr id="49" name="Objeto 4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Retângulo 4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US" sz="16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0" y="0"/>
            <a:ext cx="8467110" cy="540000"/>
          </a:xfrm>
        </p:spPr>
        <p:txBody>
          <a:bodyPr vert="horz" anchor="ctr">
            <a:normAutofit/>
          </a:bodyPr>
          <a:lstStyle/>
          <a:p>
            <a:r>
              <a:rPr lang="en-US" sz="1800" dirty="0" err="1"/>
              <a:t>Ruta</a:t>
            </a:r>
            <a:r>
              <a:rPr lang="en-US" sz="1800" dirty="0"/>
              <a:t> para </a:t>
            </a:r>
            <a:r>
              <a:rPr lang="en-US" sz="1800" dirty="0" err="1"/>
              <a:t>desarrollar</a:t>
            </a:r>
            <a:r>
              <a:rPr lang="en-US" sz="1800" dirty="0"/>
              <a:t> una </a:t>
            </a:r>
            <a:r>
              <a:rPr lang="en-US" sz="1800" dirty="0" err="1"/>
              <a:t>solución</a:t>
            </a:r>
            <a:r>
              <a:rPr lang="en-US" sz="1800" dirty="0"/>
              <a:t> al </a:t>
            </a:r>
            <a:r>
              <a:rPr lang="en-US" sz="1800" dirty="0" err="1"/>
              <a:t>problema</a:t>
            </a:r>
            <a:r>
              <a:rPr lang="en-US" sz="1800" dirty="0"/>
              <a:t> de La </a:t>
            </a:r>
            <a:r>
              <a:rPr lang="en-US" sz="1800" dirty="0" err="1"/>
              <a:t>Michoacana</a:t>
            </a:r>
            <a:endParaRPr lang="en-US" sz="1800" dirty="0"/>
          </a:p>
        </p:txBody>
      </p:sp>
      <p:grpSp>
        <p:nvGrpSpPr>
          <p:cNvPr id="39" name="Google Shape;11190;p86">
            <a:extLst>
              <a:ext uri="{FF2B5EF4-FFF2-40B4-BE49-F238E27FC236}">
                <a16:creationId xmlns:a16="http://schemas.microsoft.com/office/drawing/2014/main" id="{B76289FA-1506-41A7-B4F9-C6762B4AC8E1}"/>
              </a:ext>
            </a:extLst>
          </p:cNvPr>
          <p:cNvGrpSpPr/>
          <p:nvPr/>
        </p:nvGrpSpPr>
        <p:grpSpPr>
          <a:xfrm>
            <a:off x="7485395" y="1521257"/>
            <a:ext cx="613218" cy="644010"/>
            <a:chOff x="-1700225" y="2768875"/>
            <a:chExt cx="291450" cy="292225"/>
          </a:xfrm>
          <a:solidFill>
            <a:srgbClr val="0D5592"/>
          </a:solidFill>
        </p:grpSpPr>
        <p:sp>
          <p:nvSpPr>
            <p:cNvPr id="40" name="Google Shape;11191;p86">
              <a:extLst>
                <a:ext uri="{FF2B5EF4-FFF2-40B4-BE49-F238E27FC236}">
                  <a16:creationId xmlns:a16="http://schemas.microsoft.com/office/drawing/2014/main" id="{958FEB48-EF64-4905-8FF0-4E6D2A21B32F}"/>
                </a:ext>
              </a:extLst>
            </p:cNvPr>
            <p:cNvSpPr/>
            <p:nvPr/>
          </p:nvSpPr>
          <p:spPr>
            <a:xfrm>
              <a:off x="-1700225" y="2768875"/>
              <a:ext cx="291450" cy="292225"/>
            </a:xfrm>
            <a:custGeom>
              <a:avLst/>
              <a:gdLst/>
              <a:ahLst/>
              <a:cxnLst/>
              <a:rect l="l" t="t" r="r" b="b"/>
              <a:pathLst>
                <a:path w="11658" h="11689" extrusionOk="0">
                  <a:moveTo>
                    <a:pt x="10617" y="662"/>
                  </a:moveTo>
                  <a:cubicBezTo>
                    <a:pt x="10806" y="662"/>
                    <a:pt x="10964" y="820"/>
                    <a:pt x="10964" y="1009"/>
                  </a:cubicBezTo>
                  <a:lnTo>
                    <a:pt x="10964" y="2710"/>
                  </a:lnTo>
                  <a:lnTo>
                    <a:pt x="662" y="2710"/>
                  </a:lnTo>
                  <a:lnTo>
                    <a:pt x="662" y="1009"/>
                  </a:lnTo>
                  <a:cubicBezTo>
                    <a:pt x="662" y="820"/>
                    <a:pt x="819" y="662"/>
                    <a:pt x="1008" y="662"/>
                  </a:cubicBezTo>
                  <a:close/>
                  <a:moveTo>
                    <a:pt x="10933" y="3372"/>
                  </a:moveTo>
                  <a:lnTo>
                    <a:pt x="10933" y="9232"/>
                  </a:lnTo>
                  <a:cubicBezTo>
                    <a:pt x="10964" y="9484"/>
                    <a:pt x="10806" y="9610"/>
                    <a:pt x="10617" y="9610"/>
                  </a:cubicBezTo>
                  <a:lnTo>
                    <a:pt x="8916" y="9610"/>
                  </a:lnTo>
                  <a:lnTo>
                    <a:pt x="8570" y="9232"/>
                  </a:lnTo>
                  <a:cubicBezTo>
                    <a:pt x="8601" y="9169"/>
                    <a:pt x="8664" y="9043"/>
                    <a:pt x="8696" y="8917"/>
                  </a:cubicBezTo>
                  <a:lnTo>
                    <a:pt x="9200" y="8917"/>
                  </a:lnTo>
                  <a:cubicBezTo>
                    <a:pt x="9389" y="8917"/>
                    <a:pt x="9546" y="8759"/>
                    <a:pt x="9546" y="8570"/>
                  </a:cubicBezTo>
                  <a:lnTo>
                    <a:pt x="9546" y="7184"/>
                  </a:lnTo>
                  <a:cubicBezTo>
                    <a:pt x="9546" y="6995"/>
                    <a:pt x="9389" y="6837"/>
                    <a:pt x="9200" y="6837"/>
                  </a:cubicBezTo>
                  <a:lnTo>
                    <a:pt x="8696" y="6837"/>
                  </a:lnTo>
                  <a:cubicBezTo>
                    <a:pt x="8664" y="6711"/>
                    <a:pt x="8601" y="6648"/>
                    <a:pt x="8570" y="6522"/>
                  </a:cubicBezTo>
                  <a:lnTo>
                    <a:pt x="8916" y="6176"/>
                  </a:lnTo>
                  <a:cubicBezTo>
                    <a:pt x="9042" y="6050"/>
                    <a:pt x="9042" y="5798"/>
                    <a:pt x="8916" y="5703"/>
                  </a:cubicBezTo>
                  <a:lnTo>
                    <a:pt x="7940" y="4695"/>
                  </a:lnTo>
                  <a:cubicBezTo>
                    <a:pt x="7877" y="4648"/>
                    <a:pt x="7790" y="4624"/>
                    <a:pt x="7703" y="4624"/>
                  </a:cubicBezTo>
                  <a:cubicBezTo>
                    <a:pt x="7617" y="4624"/>
                    <a:pt x="7530" y="4648"/>
                    <a:pt x="7467" y="4695"/>
                  </a:cubicBezTo>
                  <a:lnTo>
                    <a:pt x="7120" y="5073"/>
                  </a:lnTo>
                  <a:cubicBezTo>
                    <a:pt x="7026" y="5041"/>
                    <a:pt x="6931" y="4978"/>
                    <a:pt x="6805" y="4947"/>
                  </a:cubicBezTo>
                  <a:lnTo>
                    <a:pt x="6805" y="4443"/>
                  </a:lnTo>
                  <a:cubicBezTo>
                    <a:pt x="6805" y="4222"/>
                    <a:pt x="6648" y="4065"/>
                    <a:pt x="6459" y="4065"/>
                  </a:cubicBezTo>
                  <a:lnTo>
                    <a:pt x="5073" y="4065"/>
                  </a:lnTo>
                  <a:cubicBezTo>
                    <a:pt x="4884" y="4065"/>
                    <a:pt x="4726" y="4222"/>
                    <a:pt x="4726" y="4443"/>
                  </a:cubicBezTo>
                  <a:lnTo>
                    <a:pt x="4726" y="4947"/>
                  </a:lnTo>
                  <a:cubicBezTo>
                    <a:pt x="4600" y="4978"/>
                    <a:pt x="4506" y="5010"/>
                    <a:pt x="4411" y="5073"/>
                  </a:cubicBezTo>
                  <a:lnTo>
                    <a:pt x="4033" y="4695"/>
                  </a:lnTo>
                  <a:cubicBezTo>
                    <a:pt x="3986" y="4648"/>
                    <a:pt x="3899" y="4624"/>
                    <a:pt x="3808" y="4624"/>
                  </a:cubicBezTo>
                  <a:cubicBezTo>
                    <a:pt x="3718" y="4624"/>
                    <a:pt x="3623" y="4648"/>
                    <a:pt x="3560" y="4695"/>
                  </a:cubicBezTo>
                  <a:lnTo>
                    <a:pt x="2584" y="5703"/>
                  </a:lnTo>
                  <a:cubicBezTo>
                    <a:pt x="2458" y="5829"/>
                    <a:pt x="2458" y="6050"/>
                    <a:pt x="2584" y="6176"/>
                  </a:cubicBezTo>
                  <a:lnTo>
                    <a:pt x="2930" y="6522"/>
                  </a:lnTo>
                  <a:cubicBezTo>
                    <a:pt x="2899" y="6585"/>
                    <a:pt x="2867" y="6711"/>
                    <a:pt x="2836" y="6837"/>
                  </a:cubicBezTo>
                  <a:lnTo>
                    <a:pt x="2300" y="6837"/>
                  </a:lnTo>
                  <a:cubicBezTo>
                    <a:pt x="2111" y="6837"/>
                    <a:pt x="1954" y="6995"/>
                    <a:pt x="1954" y="7184"/>
                  </a:cubicBezTo>
                  <a:lnTo>
                    <a:pt x="1954" y="8570"/>
                  </a:lnTo>
                  <a:cubicBezTo>
                    <a:pt x="1954" y="8759"/>
                    <a:pt x="2111" y="8917"/>
                    <a:pt x="2300" y="8917"/>
                  </a:cubicBezTo>
                  <a:lnTo>
                    <a:pt x="2836" y="8917"/>
                  </a:lnTo>
                  <a:cubicBezTo>
                    <a:pt x="2867" y="9043"/>
                    <a:pt x="2899" y="9137"/>
                    <a:pt x="2930" y="9232"/>
                  </a:cubicBezTo>
                  <a:lnTo>
                    <a:pt x="2584" y="9610"/>
                  </a:lnTo>
                  <a:lnTo>
                    <a:pt x="977" y="9610"/>
                  </a:lnTo>
                  <a:cubicBezTo>
                    <a:pt x="788" y="9610"/>
                    <a:pt x="630" y="9452"/>
                    <a:pt x="630" y="9232"/>
                  </a:cubicBezTo>
                  <a:lnTo>
                    <a:pt x="630" y="3372"/>
                  </a:lnTo>
                  <a:close/>
                  <a:moveTo>
                    <a:pt x="6112" y="4726"/>
                  </a:moveTo>
                  <a:lnTo>
                    <a:pt x="6112" y="5136"/>
                  </a:lnTo>
                  <a:cubicBezTo>
                    <a:pt x="6112" y="5294"/>
                    <a:pt x="6207" y="5420"/>
                    <a:pt x="6364" y="5451"/>
                  </a:cubicBezTo>
                  <a:cubicBezTo>
                    <a:pt x="6553" y="5514"/>
                    <a:pt x="6805" y="5609"/>
                    <a:pt x="6994" y="5735"/>
                  </a:cubicBezTo>
                  <a:cubicBezTo>
                    <a:pt x="7041" y="5769"/>
                    <a:pt x="7096" y="5783"/>
                    <a:pt x="7153" y="5783"/>
                  </a:cubicBezTo>
                  <a:cubicBezTo>
                    <a:pt x="7251" y="5783"/>
                    <a:pt x="7356" y="5743"/>
                    <a:pt x="7435" y="5703"/>
                  </a:cubicBezTo>
                  <a:lnTo>
                    <a:pt x="7751" y="5388"/>
                  </a:lnTo>
                  <a:lnTo>
                    <a:pt x="8223" y="5861"/>
                  </a:lnTo>
                  <a:lnTo>
                    <a:pt x="7908" y="6176"/>
                  </a:lnTo>
                  <a:cubicBezTo>
                    <a:pt x="7782" y="6302"/>
                    <a:pt x="7782" y="6459"/>
                    <a:pt x="7877" y="6617"/>
                  </a:cubicBezTo>
                  <a:cubicBezTo>
                    <a:pt x="7971" y="6806"/>
                    <a:pt x="8066" y="6995"/>
                    <a:pt x="8129" y="7247"/>
                  </a:cubicBezTo>
                  <a:cubicBezTo>
                    <a:pt x="8192" y="7404"/>
                    <a:pt x="8286" y="7499"/>
                    <a:pt x="8444" y="7499"/>
                  </a:cubicBezTo>
                  <a:lnTo>
                    <a:pt x="8885" y="7499"/>
                  </a:lnTo>
                  <a:lnTo>
                    <a:pt x="8885" y="8192"/>
                  </a:lnTo>
                  <a:lnTo>
                    <a:pt x="8444" y="8192"/>
                  </a:lnTo>
                  <a:cubicBezTo>
                    <a:pt x="8286" y="8192"/>
                    <a:pt x="8192" y="8286"/>
                    <a:pt x="8129" y="8444"/>
                  </a:cubicBezTo>
                  <a:cubicBezTo>
                    <a:pt x="8097" y="8665"/>
                    <a:pt x="7971" y="8885"/>
                    <a:pt x="7877" y="9074"/>
                  </a:cubicBezTo>
                  <a:cubicBezTo>
                    <a:pt x="7782" y="9200"/>
                    <a:pt x="7814" y="9389"/>
                    <a:pt x="7908" y="9515"/>
                  </a:cubicBezTo>
                  <a:lnTo>
                    <a:pt x="8223" y="9830"/>
                  </a:lnTo>
                  <a:lnTo>
                    <a:pt x="7751" y="10303"/>
                  </a:lnTo>
                  <a:lnTo>
                    <a:pt x="7435" y="9988"/>
                  </a:lnTo>
                  <a:cubicBezTo>
                    <a:pt x="7368" y="9920"/>
                    <a:pt x="7291" y="9889"/>
                    <a:pt x="7211" y="9889"/>
                  </a:cubicBezTo>
                  <a:cubicBezTo>
                    <a:pt x="7141" y="9889"/>
                    <a:pt x="7068" y="9912"/>
                    <a:pt x="6994" y="9956"/>
                  </a:cubicBezTo>
                  <a:cubicBezTo>
                    <a:pt x="6805" y="10082"/>
                    <a:pt x="6616" y="10145"/>
                    <a:pt x="6364" y="10208"/>
                  </a:cubicBezTo>
                  <a:cubicBezTo>
                    <a:pt x="6207" y="10271"/>
                    <a:pt x="6112" y="10366"/>
                    <a:pt x="6112" y="10555"/>
                  </a:cubicBezTo>
                  <a:lnTo>
                    <a:pt x="6112" y="10964"/>
                  </a:lnTo>
                  <a:lnTo>
                    <a:pt x="5419" y="10964"/>
                  </a:lnTo>
                  <a:lnTo>
                    <a:pt x="5419" y="10555"/>
                  </a:lnTo>
                  <a:cubicBezTo>
                    <a:pt x="5419" y="10366"/>
                    <a:pt x="5325" y="10271"/>
                    <a:pt x="5167" y="10208"/>
                  </a:cubicBezTo>
                  <a:cubicBezTo>
                    <a:pt x="4947" y="10177"/>
                    <a:pt x="4726" y="10051"/>
                    <a:pt x="4537" y="9956"/>
                  </a:cubicBezTo>
                  <a:cubicBezTo>
                    <a:pt x="4491" y="9921"/>
                    <a:pt x="4436" y="9908"/>
                    <a:pt x="4379" y="9908"/>
                  </a:cubicBezTo>
                  <a:cubicBezTo>
                    <a:pt x="4281" y="9908"/>
                    <a:pt x="4176" y="9948"/>
                    <a:pt x="4096" y="9988"/>
                  </a:cubicBezTo>
                  <a:lnTo>
                    <a:pt x="3781" y="10303"/>
                  </a:lnTo>
                  <a:lnTo>
                    <a:pt x="3308" y="9830"/>
                  </a:lnTo>
                  <a:lnTo>
                    <a:pt x="3623" y="9515"/>
                  </a:lnTo>
                  <a:cubicBezTo>
                    <a:pt x="3749" y="9389"/>
                    <a:pt x="3749" y="9232"/>
                    <a:pt x="3655" y="9074"/>
                  </a:cubicBezTo>
                  <a:cubicBezTo>
                    <a:pt x="3529" y="8885"/>
                    <a:pt x="3466" y="8696"/>
                    <a:pt x="3371" y="8444"/>
                  </a:cubicBezTo>
                  <a:cubicBezTo>
                    <a:pt x="3340" y="8286"/>
                    <a:pt x="3214" y="8192"/>
                    <a:pt x="3056" y="8192"/>
                  </a:cubicBezTo>
                  <a:lnTo>
                    <a:pt x="2647" y="8192"/>
                  </a:lnTo>
                  <a:lnTo>
                    <a:pt x="2647" y="7499"/>
                  </a:lnTo>
                  <a:lnTo>
                    <a:pt x="3056" y="7499"/>
                  </a:lnTo>
                  <a:cubicBezTo>
                    <a:pt x="3214" y="7499"/>
                    <a:pt x="3340" y="7404"/>
                    <a:pt x="3371" y="7247"/>
                  </a:cubicBezTo>
                  <a:cubicBezTo>
                    <a:pt x="3434" y="7026"/>
                    <a:pt x="3529" y="6806"/>
                    <a:pt x="3655" y="6617"/>
                  </a:cubicBezTo>
                  <a:cubicBezTo>
                    <a:pt x="3749" y="6491"/>
                    <a:pt x="3686" y="6302"/>
                    <a:pt x="3623" y="6176"/>
                  </a:cubicBezTo>
                  <a:lnTo>
                    <a:pt x="3308" y="5861"/>
                  </a:lnTo>
                  <a:lnTo>
                    <a:pt x="3781" y="5388"/>
                  </a:lnTo>
                  <a:lnTo>
                    <a:pt x="4096" y="5703"/>
                  </a:lnTo>
                  <a:cubicBezTo>
                    <a:pt x="4163" y="5771"/>
                    <a:pt x="4240" y="5802"/>
                    <a:pt x="4321" y="5802"/>
                  </a:cubicBezTo>
                  <a:cubicBezTo>
                    <a:pt x="4391" y="5802"/>
                    <a:pt x="4464" y="5778"/>
                    <a:pt x="4537" y="5735"/>
                  </a:cubicBezTo>
                  <a:cubicBezTo>
                    <a:pt x="4726" y="5609"/>
                    <a:pt x="4915" y="5546"/>
                    <a:pt x="5167" y="5451"/>
                  </a:cubicBezTo>
                  <a:cubicBezTo>
                    <a:pt x="5325" y="5420"/>
                    <a:pt x="5419" y="5294"/>
                    <a:pt x="5419" y="5136"/>
                  </a:cubicBezTo>
                  <a:lnTo>
                    <a:pt x="5419" y="4726"/>
                  </a:lnTo>
                  <a:close/>
                  <a:moveTo>
                    <a:pt x="1008" y="1"/>
                  </a:moveTo>
                  <a:cubicBezTo>
                    <a:pt x="473" y="1"/>
                    <a:pt x="0" y="473"/>
                    <a:pt x="0" y="1009"/>
                  </a:cubicBezTo>
                  <a:lnTo>
                    <a:pt x="0" y="9295"/>
                  </a:lnTo>
                  <a:cubicBezTo>
                    <a:pt x="0" y="9830"/>
                    <a:pt x="473" y="10303"/>
                    <a:pt x="1008" y="10303"/>
                  </a:cubicBezTo>
                  <a:lnTo>
                    <a:pt x="2867" y="10303"/>
                  </a:lnTo>
                  <a:lnTo>
                    <a:pt x="3623" y="11059"/>
                  </a:lnTo>
                  <a:cubicBezTo>
                    <a:pt x="3671" y="11122"/>
                    <a:pt x="3757" y="11153"/>
                    <a:pt x="3848" y="11153"/>
                  </a:cubicBezTo>
                  <a:cubicBezTo>
                    <a:pt x="3938" y="11153"/>
                    <a:pt x="4033" y="11122"/>
                    <a:pt x="4096" y="11059"/>
                  </a:cubicBezTo>
                  <a:lnTo>
                    <a:pt x="4442" y="10712"/>
                  </a:lnTo>
                  <a:cubicBezTo>
                    <a:pt x="4506" y="10744"/>
                    <a:pt x="4632" y="10775"/>
                    <a:pt x="4758" y="10807"/>
                  </a:cubicBezTo>
                  <a:lnTo>
                    <a:pt x="4758" y="11342"/>
                  </a:lnTo>
                  <a:cubicBezTo>
                    <a:pt x="4758" y="11531"/>
                    <a:pt x="4915" y="11689"/>
                    <a:pt x="5104" y="11689"/>
                  </a:cubicBezTo>
                  <a:lnTo>
                    <a:pt x="6490" y="11689"/>
                  </a:lnTo>
                  <a:cubicBezTo>
                    <a:pt x="6679" y="11689"/>
                    <a:pt x="6837" y="11531"/>
                    <a:pt x="6837" y="11342"/>
                  </a:cubicBezTo>
                  <a:lnTo>
                    <a:pt x="6837" y="10807"/>
                  </a:lnTo>
                  <a:cubicBezTo>
                    <a:pt x="6963" y="10775"/>
                    <a:pt x="7026" y="10744"/>
                    <a:pt x="7152" y="10712"/>
                  </a:cubicBezTo>
                  <a:lnTo>
                    <a:pt x="7498" y="11059"/>
                  </a:lnTo>
                  <a:cubicBezTo>
                    <a:pt x="7561" y="11122"/>
                    <a:pt x="7656" y="11153"/>
                    <a:pt x="7747" y="11153"/>
                  </a:cubicBezTo>
                  <a:cubicBezTo>
                    <a:pt x="7837" y="11153"/>
                    <a:pt x="7924" y="11122"/>
                    <a:pt x="7971" y="11059"/>
                  </a:cubicBezTo>
                  <a:lnTo>
                    <a:pt x="8727" y="10303"/>
                  </a:lnTo>
                  <a:lnTo>
                    <a:pt x="10617" y="10303"/>
                  </a:lnTo>
                  <a:cubicBezTo>
                    <a:pt x="11185" y="10303"/>
                    <a:pt x="11657" y="9830"/>
                    <a:pt x="11657" y="9295"/>
                  </a:cubicBezTo>
                  <a:lnTo>
                    <a:pt x="11657" y="1009"/>
                  </a:lnTo>
                  <a:cubicBezTo>
                    <a:pt x="11657" y="473"/>
                    <a:pt x="11216" y="1"/>
                    <a:pt x="1061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11192;p86">
              <a:extLst>
                <a:ext uri="{FF2B5EF4-FFF2-40B4-BE49-F238E27FC236}">
                  <a16:creationId xmlns:a16="http://schemas.microsoft.com/office/drawing/2014/main" id="{A7BB7FA7-A82F-42C7-AF4B-DECC676B7AF6}"/>
                </a:ext>
              </a:extLst>
            </p:cNvPr>
            <p:cNvSpPr/>
            <p:nvPr/>
          </p:nvSpPr>
          <p:spPr>
            <a:xfrm>
              <a:off x="-1667150" y="2801950"/>
              <a:ext cx="18150" cy="18150"/>
            </a:xfrm>
            <a:custGeom>
              <a:avLst/>
              <a:gdLst/>
              <a:ahLst/>
              <a:cxnLst/>
              <a:rect l="l" t="t" r="r" b="b"/>
              <a:pathLst>
                <a:path w="726" h="726" extrusionOk="0">
                  <a:moveTo>
                    <a:pt x="347" y="1"/>
                  </a:moveTo>
                  <a:cubicBezTo>
                    <a:pt x="158" y="1"/>
                    <a:pt x="1" y="158"/>
                    <a:pt x="1" y="347"/>
                  </a:cubicBezTo>
                  <a:cubicBezTo>
                    <a:pt x="1" y="536"/>
                    <a:pt x="158" y="726"/>
                    <a:pt x="347" y="726"/>
                  </a:cubicBezTo>
                  <a:cubicBezTo>
                    <a:pt x="568" y="726"/>
                    <a:pt x="725" y="536"/>
                    <a:pt x="725" y="347"/>
                  </a:cubicBezTo>
                  <a:cubicBezTo>
                    <a:pt x="725" y="158"/>
                    <a:pt x="568" y="1"/>
                    <a:pt x="34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" name="Google Shape;11193;p86">
              <a:extLst>
                <a:ext uri="{FF2B5EF4-FFF2-40B4-BE49-F238E27FC236}">
                  <a16:creationId xmlns:a16="http://schemas.microsoft.com/office/drawing/2014/main" id="{5565B353-36C5-4D22-8453-8721516D95E6}"/>
                </a:ext>
              </a:extLst>
            </p:cNvPr>
            <p:cNvSpPr/>
            <p:nvPr/>
          </p:nvSpPr>
          <p:spPr>
            <a:xfrm>
              <a:off x="-1632500" y="2801950"/>
              <a:ext cx="17350" cy="18150"/>
            </a:xfrm>
            <a:custGeom>
              <a:avLst/>
              <a:gdLst/>
              <a:ahLst/>
              <a:cxnLst/>
              <a:rect l="l" t="t" r="r" b="b"/>
              <a:pathLst>
                <a:path w="694" h="726" extrusionOk="0">
                  <a:moveTo>
                    <a:pt x="347" y="1"/>
                  </a:moveTo>
                  <a:cubicBezTo>
                    <a:pt x="158" y="1"/>
                    <a:pt x="1" y="158"/>
                    <a:pt x="1" y="347"/>
                  </a:cubicBezTo>
                  <a:cubicBezTo>
                    <a:pt x="1" y="568"/>
                    <a:pt x="158" y="726"/>
                    <a:pt x="347" y="726"/>
                  </a:cubicBezTo>
                  <a:cubicBezTo>
                    <a:pt x="536" y="726"/>
                    <a:pt x="694" y="568"/>
                    <a:pt x="694" y="347"/>
                  </a:cubicBezTo>
                  <a:cubicBezTo>
                    <a:pt x="694" y="158"/>
                    <a:pt x="536" y="1"/>
                    <a:pt x="34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11194;p86">
              <a:extLst>
                <a:ext uri="{FF2B5EF4-FFF2-40B4-BE49-F238E27FC236}">
                  <a16:creationId xmlns:a16="http://schemas.microsoft.com/office/drawing/2014/main" id="{4B70C466-EB5D-4584-A5D6-1393D587960A}"/>
                </a:ext>
              </a:extLst>
            </p:cNvPr>
            <p:cNvSpPr/>
            <p:nvPr/>
          </p:nvSpPr>
          <p:spPr>
            <a:xfrm>
              <a:off x="-1597850" y="2801950"/>
              <a:ext cx="17375" cy="18150"/>
            </a:xfrm>
            <a:custGeom>
              <a:avLst/>
              <a:gdLst/>
              <a:ahLst/>
              <a:cxnLst/>
              <a:rect l="l" t="t" r="r" b="b"/>
              <a:pathLst>
                <a:path w="695" h="726" extrusionOk="0">
                  <a:moveTo>
                    <a:pt x="347" y="1"/>
                  </a:moveTo>
                  <a:cubicBezTo>
                    <a:pt x="158" y="1"/>
                    <a:pt x="1" y="158"/>
                    <a:pt x="1" y="347"/>
                  </a:cubicBezTo>
                  <a:cubicBezTo>
                    <a:pt x="1" y="568"/>
                    <a:pt x="158" y="726"/>
                    <a:pt x="347" y="726"/>
                  </a:cubicBezTo>
                  <a:cubicBezTo>
                    <a:pt x="537" y="726"/>
                    <a:pt x="694" y="568"/>
                    <a:pt x="694" y="347"/>
                  </a:cubicBezTo>
                  <a:cubicBezTo>
                    <a:pt x="694" y="158"/>
                    <a:pt x="537" y="1"/>
                    <a:pt x="34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" name="Google Shape;11195;p86">
              <a:extLst>
                <a:ext uri="{FF2B5EF4-FFF2-40B4-BE49-F238E27FC236}">
                  <a16:creationId xmlns:a16="http://schemas.microsoft.com/office/drawing/2014/main" id="{775444A4-BAC1-4B9E-A38E-B9D53C4172C4}"/>
                </a:ext>
              </a:extLst>
            </p:cNvPr>
            <p:cNvSpPr/>
            <p:nvPr/>
          </p:nvSpPr>
          <p:spPr>
            <a:xfrm>
              <a:off x="-1564750" y="2801950"/>
              <a:ext cx="120525" cy="18150"/>
            </a:xfrm>
            <a:custGeom>
              <a:avLst/>
              <a:gdLst/>
              <a:ahLst/>
              <a:cxnLst/>
              <a:rect l="l" t="t" r="r" b="b"/>
              <a:pathLst>
                <a:path w="4821" h="726" extrusionOk="0">
                  <a:moveTo>
                    <a:pt x="347" y="1"/>
                  </a:moveTo>
                  <a:cubicBezTo>
                    <a:pt x="158" y="1"/>
                    <a:pt x="0" y="158"/>
                    <a:pt x="0" y="347"/>
                  </a:cubicBezTo>
                  <a:cubicBezTo>
                    <a:pt x="32" y="568"/>
                    <a:pt x="189" y="726"/>
                    <a:pt x="347" y="726"/>
                  </a:cubicBezTo>
                  <a:lnTo>
                    <a:pt x="4442" y="726"/>
                  </a:lnTo>
                  <a:cubicBezTo>
                    <a:pt x="4663" y="726"/>
                    <a:pt x="4820" y="568"/>
                    <a:pt x="4820" y="347"/>
                  </a:cubicBezTo>
                  <a:cubicBezTo>
                    <a:pt x="4820" y="158"/>
                    <a:pt x="4663" y="1"/>
                    <a:pt x="444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" name="Google Shape;11196;p86">
              <a:extLst>
                <a:ext uri="{FF2B5EF4-FFF2-40B4-BE49-F238E27FC236}">
                  <a16:creationId xmlns:a16="http://schemas.microsoft.com/office/drawing/2014/main" id="{5FA1C951-632D-440E-98BB-0790D3CF2AD4}"/>
                </a:ext>
              </a:extLst>
            </p:cNvPr>
            <p:cNvSpPr/>
            <p:nvPr/>
          </p:nvSpPr>
          <p:spPr>
            <a:xfrm>
              <a:off x="-1597850" y="2924050"/>
              <a:ext cx="85100" cy="85075"/>
            </a:xfrm>
            <a:custGeom>
              <a:avLst/>
              <a:gdLst/>
              <a:ahLst/>
              <a:cxnLst/>
              <a:rect l="l" t="t" r="r" b="b"/>
              <a:pathLst>
                <a:path w="3404" h="3403" extrusionOk="0">
                  <a:moveTo>
                    <a:pt x="1671" y="662"/>
                  </a:moveTo>
                  <a:cubicBezTo>
                    <a:pt x="2238" y="662"/>
                    <a:pt x="2710" y="1134"/>
                    <a:pt x="2710" y="1701"/>
                  </a:cubicBezTo>
                  <a:cubicBezTo>
                    <a:pt x="2710" y="2237"/>
                    <a:pt x="2269" y="2710"/>
                    <a:pt x="1671" y="2710"/>
                  </a:cubicBezTo>
                  <a:cubicBezTo>
                    <a:pt x="1135" y="2710"/>
                    <a:pt x="663" y="2237"/>
                    <a:pt x="663" y="1701"/>
                  </a:cubicBezTo>
                  <a:cubicBezTo>
                    <a:pt x="663" y="1134"/>
                    <a:pt x="1135" y="662"/>
                    <a:pt x="1671" y="662"/>
                  </a:cubicBezTo>
                  <a:close/>
                  <a:moveTo>
                    <a:pt x="1671" y="0"/>
                  </a:moveTo>
                  <a:cubicBezTo>
                    <a:pt x="726" y="0"/>
                    <a:pt x="1" y="756"/>
                    <a:pt x="1" y="1701"/>
                  </a:cubicBezTo>
                  <a:cubicBezTo>
                    <a:pt x="1" y="2647"/>
                    <a:pt x="726" y="3403"/>
                    <a:pt x="1671" y="3403"/>
                  </a:cubicBezTo>
                  <a:cubicBezTo>
                    <a:pt x="2616" y="3403"/>
                    <a:pt x="3372" y="2647"/>
                    <a:pt x="3372" y="1701"/>
                  </a:cubicBezTo>
                  <a:cubicBezTo>
                    <a:pt x="3403" y="756"/>
                    <a:pt x="2616" y="0"/>
                    <a:pt x="167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6" name="Google Shape;9996;p82">
            <a:extLst>
              <a:ext uri="{FF2B5EF4-FFF2-40B4-BE49-F238E27FC236}">
                <a16:creationId xmlns:a16="http://schemas.microsoft.com/office/drawing/2014/main" id="{DDF5D368-E291-4C10-A5FF-74D8B718F7B4}"/>
              </a:ext>
            </a:extLst>
          </p:cNvPr>
          <p:cNvGrpSpPr/>
          <p:nvPr/>
        </p:nvGrpSpPr>
        <p:grpSpPr>
          <a:xfrm>
            <a:off x="9309538" y="4121497"/>
            <a:ext cx="608264" cy="598042"/>
            <a:chOff x="3599700" y="1954475"/>
            <a:chExt cx="296175" cy="295400"/>
          </a:xfrm>
          <a:solidFill>
            <a:srgbClr val="0D5592"/>
          </a:solidFill>
        </p:grpSpPr>
        <p:sp>
          <p:nvSpPr>
            <p:cNvPr id="47" name="Google Shape;9997;p82">
              <a:extLst>
                <a:ext uri="{FF2B5EF4-FFF2-40B4-BE49-F238E27FC236}">
                  <a16:creationId xmlns:a16="http://schemas.microsoft.com/office/drawing/2014/main" id="{C38BDDEE-AB09-45E3-B2BE-16EABD3874A8}"/>
                </a:ext>
              </a:extLst>
            </p:cNvPr>
            <p:cNvSpPr/>
            <p:nvPr/>
          </p:nvSpPr>
          <p:spPr>
            <a:xfrm>
              <a:off x="3599700" y="1954475"/>
              <a:ext cx="296175" cy="295400"/>
            </a:xfrm>
            <a:custGeom>
              <a:avLst/>
              <a:gdLst/>
              <a:ahLst/>
              <a:cxnLst/>
              <a:rect l="l" t="t" r="r" b="b"/>
              <a:pathLst>
                <a:path w="11847" h="11816" extrusionOk="0">
                  <a:moveTo>
                    <a:pt x="3151" y="694"/>
                  </a:moveTo>
                  <a:cubicBezTo>
                    <a:pt x="3718" y="694"/>
                    <a:pt x="4159" y="1166"/>
                    <a:pt x="4159" y="1734"/>
                  </a:cubicBezTo>
                  <a:cubicBezTo>
                    <a:pt x="4159" y="2301"/>
                    <a:pt x="3686" y="2742"/>
                    <a:pt x="3151" y="2742"/>
                  </a:cubicBezTo>
                  <a:cubicBezTo>
                    <a:pt x="2584" y="2742"/>
                    <a:pt x="2111" y="2269"/>
                    <a:pt x="2111" y="1734"/>
                  </a:cubicBezTo>
                  <a:cubicBezTo>
                    <a:pt x="2080" y="1166"/>
                    <a:pt x="2552" y="694"/>
                    <a:pt x="3151" y="694"/>
                  </a:cubicBezTo>
                  <a:close/>
                  <a:moveTo>
                    <a:pt x="8727" y="694"/>
                  </a:moveTo>
                  <a:cubicBezTo>
                    <a:pt x="9326" y="694"/>
                    <a:pt x="9767" y="1166"/>
                    <a:pt x="9767" y="1734"/>
                  </a:cubicBezTo>
                  <a:cubicBezTo>
                    <a:pt x="9767" y="2301"/>
                    <a:pt x="9294" y="2742"/>
                    <a:pt x="8727" y="2742"/>
                  </a:cubicBezTo>
                  <a:cubicBezTo>
                    <a:pt x="8128" y="2742"/>
                    <a:pt x="7719" y="2269"/>
                    <a:pt x="7719" y="1734"/>
                  </a:cubicBezTo>
                  <a:cubicBezTo>
                    <a:pt x="7656" y="1166"/>
                    <a:pt x="8128" y="694"/>
                    <a:pt x="8727" y="694"/>
                  </a:cubicBezTo>
                  <a:close/>
                  <a:moveTo>
                    <a:pt x="5923" y="4852"/>
                  </a:moveTo>
                  <a:cubicBezTo>
                    <a:pt x="6522" y="4852"/>
                    <a:pt x="6994" y="5325"/>
                    <a:pt x="6994" y="5861"/>
                  </a:cubicBezTo>
                  <a:cubicBezTo>
                    <a:pt x="6994" y="6396"/>
                    <a:pt x="6522" y="6869"/>
                    <a:pt x="5923" y="6869"/>
                  </a:cubicBezTo>
                  <a:cubicBezTo>
                    <a:pt x="5356" y="6869"/>
                    <a:pt x="4883" y="6428"/>
                    <a:pt x="4883" y="5861"/>
                  </a:cubicBezTo>
                  <a:cubicBezTo>
                    <a:pt x="4883" y="5294"/>
                    <a:pt x="5356" y="4852"/>
                    <a:pt x="5923" y="4852"/>
                  </a:cubicBezTo>
                  <a:close/>
                  <a:moveTo>
                    <a:pt x="3151" y="3466"/>
                  </a:moveTo>
                  <a:cubicBezTo>
                    <a:pt x="3875" y="3466"/>
                    <a:pt x="4600" y="3813"/>
                    <a:pt x="5072" y="4380"/>
                  </a:cubicBezTo>
                  <a:cubicBezTo>
                    <a:pt x="4537" y="4695"/>
                    <a:pt x="4159" y="5231"/>
                    <a:pt x="4159" y="5861"/>
                  </a:cubicBezTo>
                  <a:cubicBezTo>
                    <a:pt x="4159" y="6239"/>
                    <a:pt x="4285" y="6617"/>
                    <a:pt x="4505" y="6900"/>
                  </a:cubicBezTo>
                  <a:lnTo>
                    <a:pt x="693" y="6900"/>
                  </a:lnTo>
                  <a:lnTo>
                    <a:pt x="693" y="5892"/>
                  </a:lnTo>
                  <a:cubicBezTo>
                    <a:pt x="693" y="4569"/>
                    <a:pt x="1796" y="3466"/>
                    <a:pt x="3151" y="3466"/>
                  </a:cubicBezTo>
                  <a:close/>
                  <a:moveTo>
                    <a:pt x="8696" y="3498"/>
                  </a:moveTo>
                  <a:cubicBezTo>
                    <a:pt x="10019" y="3498"/>
                    <a:pt x="11121" y="4600"/>
                    <a:pt x="11121" y="5955"/>
                  </a:cubicBezTo>
                  <a:lnTo>
                    <a:pt x="11121" y="6932"/>
                  </a:lnTo>
                  <a:lnTo>
                    <a:pt x="7309" y="6932"/>
                  </a:lnTo>
                  <a:cubicBezTo>
                    <a:pt x="7561" y="6617"/>
                    <a:pt x="7656" y="6270"/>
                    <a:pt x="7656" y="5892"/>
                  </a:cubicBezTo>
                  <a:cubicBezTo>
                    <a:pt x="7656" y="5262"/>
                    <a:pt x="7309" y="4726"/>
                    <a:pt x="6774" y="4411"/>
                  </a:cubicBezTo>
                  <a:cubicBezTo>
                    <a:pt x="7215" y="3813"/>
                    <a:pt x="7939" y="3498"/>
                    <a:pt x="8696" y="3498"/>
                  </a:cubicBezTo>
                  <a:close/>
                  <a:moveTo>
                    <a:pt x="5923" y="7625"/>
                  </a:moveTo>
                  <a:cubicBezTo>
                    <a:pt x="6207" y="7625"/>
                    <a:pt x="6490" y="7656"/>
                    <a:pt x="6711" y="7751"/>
                  </a:cubicBezTo>
                  <a:lnTo>
                    <a:pt x="5923" y="8791"/>
                  </a:lnTo>
                  <a:lnTo>
                    <a:pt x="5135" y="7751"/>
                  </a:lnTo>
                  <a:cubicBezTo>
                    <a:pt x="5388" y="7688"/>
                    <a:pt x="5671" y="7625"/>
                    <a:pt x="5923" y="7625"/>
                  </a:cubicBezTo>
                  <a:close/>
                  <a:moveTo>
                    <a:pt x="4505" y="8066"/>
                  </a:moveTo>
                  <a:lnTo>
                    <a:pt x="5577" y="9484"/>
                  </a:lnTo>
                  <a:lnTo>
                    <a:pt x="5577" y="11153"/>
                  </a:lnTo>
                  <a:lnTo>
                    <a:pt x="3497" y="11153"/>
                  </a:lnTo>
                  <a:lnTo>
                    <a:pt x="3497" y="10019"/>
                  </a:lnTo>
                  <a:cubicBezTo>
                    <a:pt x="3497" y="9200"/>
                    <a:pt x="3875" y="8507"/>
                    <a:pt x="4505" y="8066"/>
                  </a:cubicBezTo>
                  <a:close/>
                  <a:moveTo>
                    <a:pt x="7341" y="8066"/>
                  </a:moveTo>
                  <a:cubicBezTo>
                    <a:pt x="7939" y="8507"/>
                    <a:pt x="8381" y="9263"/>
                    <a:pt x="8381" y="10051"/>
                  </a:cubicBezTo>
                  <a:lnTo>
                    <a:pt x="8381" y="11153"/>
                  </a:lnTo>
                  <a:lnTo>
                    <a:pt x="6301" y="11153"/>
                  </a:lnTo>
                  <a:lnTo>
                    <a:pt x="6301" y="9484"/>
                  </a:lnTo>
                  <a:lnTo>
                    <a:pt x="7341" y="8066"/>
                  </a:lnTo>
                  <a:close/>
                  <a:moveTo>
                    <a:pt x="3088" y="1"/>
                  </a:moveTo>
                  <a:cubicBezTo>
                    <a:pt x="2143" y="1"/>
                    <a:pt x="1355" y="788"/>
                    <a:pt x="1355" y="1734"/>
                  </a:cubicBezTo>
                  <a:cubicBezTo>
                    <a:pt x="1355" y="2238"/>
                    <a:pt x="1575" y="2679"/>
                    <a:pt x="1922" y="2994"/>
                  </a:cubicBezTo>
                  <a:cubicBezTo>
                    <a:pt x="788" y="3466"/>
                    <a:pt x="0" y="4569"/>
                    <a:pt x="0" y="5861"/>
                  </a:cubicBezTo>
                  <a:lnTo>
                    <a:pt x="0" y="7247"/>
                  </a:lnTo>
                  <a:cubicBezTo>
                    <a:pt x="0" y="7436"/>
                    <a:pt x="158" y="7593"/>
                    <a:pt x="347" y="7593"/>
                  </a:cubicBezTo>
                  <a:lnTo>
                    <a:pt x="3938" y="7593"/>
                  </a:lnTo>
                  <a:cubicBezTo>
                    <a:pt x="3214" y="8192"/>
                    <a:pt x="2741" y="9043"/>
                    <a:pt x="2741" y="10019"/>
                  </a:cubicBezTo>
                  <a:lnTo>
                    <a:pt x="2741" y="11437"/>
                  </a:lnTo>
                  <a:cubicBezTo>
                    <a:pt x="2741" y="11658"/>
                    <a:pt x="2899" y="11815"/>
                    <a:pt x="3088" y="11815"/>
                  </a:cubicBezTo>
                  <a:lnTo>
                    <a:pt x="8696" y="11815"/>
                  </a:lnTo>
                  <a:cubicBezTo>
                    <a:pt x="8885" y="11815"/>
                    <a:pt x="9042" y="11658"/>
                    <a:pt x="9042" y="11437"/>
                  </a:cubicBezTo>
                  <a:lnTo>
                    <a:pt x="9042" y="10019"/>
                  </a:lnTo>
                  <a:cubicBezTo>
                    <a:pt x="9042" y="9043"/>
                    <a:pt x="8570" y="8192"/>
                    <a:pt x="7876" y="7593"/>
                  </a:cubicBezTo>
                  <a:lnTo>
                    <a:pt x="11436" y="7593"/>
                  </a:lnTo>
                  <a:cubicBezTo>
                    <a:pt x="11657" y="7593"/>
                    <a:pt x="11815" y="7436"/>
                    <a:pt x="11815" y="7247"/>
                  </a:cubicBezTo>
                  <a:lnTo>
                    <a:pt x="11815" y="5861"/>
                  </a:lnTo>
                  <a:cubicBezTo>
                    <a:pt x="11846" y="4600"/>
                    <a:pt x="11027" y="3466"/>
                    <a:pt x="9861" y="2994"/>
                  </a:cubicBezTo>
                  <a:cubicBezTo>
                    <a:pt x="10239" y="2679"/>
                    <a:pt x="10428" y="2206"/>
                    <a:pt x="10428" y="1734"/>
                  </a:cubicBezTo>
                  <a:cubicBezTo>
                    <a:pt x="10428" y="788"/>
                    <a:pt x="9641" y="1"/>
                    <a:pt x="8696" y="1"/>
                  </a:cubicBezTo>
                  <a:cubicBezTo>
                    <a:pt x="7750" y="1"/>
                    <a:pt x="6963" y="788"/>
                    <a:pt x="6963" y="1734"/>
                  </a:cubicBezTo>
                  <a:cubicBezTo>
                    <a:pt x="6963" y="2238"/>
                    <a:pt x="7152" y="2679"/>
                    <a:pt x="7498" y="2994"/>
                  </a:cubicBezTo>
                  <a:cubicBezTo>
                    <a:pt x="6931" y="3214"/>
                    <a:pt x="6396" y="3624"/>
                    <a:pt x="6049" y="4159"/>
                  </a:cubicBezTo>
                  <a:lnTo>
                    <a:pt x="5734" y="4159"/>
                  </a:lnTo>
                  <a:cubicBezTo>
                    <a:pt x="5388" y="3655"/>
                    <a:pt x="4883" y="3214"/>
                    <a:pt x="4285" y="2994"/>
                  </a:cubicBezTo>
                  <a:cubicBezTo>
                    <a:pt x="4631" y="2679"/>
                    <a:pt x="4820" y="2238"/>
                    <a:pt x="4820" y="1734"/>
                  </a:cubicBezTo>
                  <a:cubicBezTo>
                    <a:pt x="4820" y="788"/>
                    <a:pt x="4033" y="1"/>
                    <a:pt x="308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" name="Google Shape;9998;p82">
              <a:extLst>
                <a:ext uri="{FF2B5EF4-FFF2-40B4-BE49-F238E27FC236}">
                  <a16:creationId xmlns:a16="http://schemas.microsoft.com/office/drawing/2014/main" id="{BDA856C0-CC9B-406E-A805-D4E80F9C8E01}"/>
                </a:ext>
              </a:extLst>
            </p:cNvPr>
            <p:cNvSpPr/>
            <p:nvPr/>
          </p:nvSpPr>
          <p:spPr>
            <a:xfrm>
              <a:off x="3825750" y="2075775"/>
              <a:ext cx="35450" cy="17350"/>
            </a:xfrm>
            <a:custGeom>
              <a:avLst/>
              <a:gdLst/>
              <a:ahLst/>
              <a:cxnLst/>
              <a:rect l="l" t="t" r="r" b="b"/>
              <a:pathLst>
                <a:path w="1418" h="694" extrusionOk="0">
                  <a:moveTo>
                    <a:pt x="347" y="0"/>
                  </a:moveTo>
                  <a:cubicBezTo>
                    <a:pt x="158" y="0"/>
                    <a:pt x="0" y="158"/>
                    <a:pt x="0" y="347"/>
                  </a:cubicBezTo>
                  <a:cubicBezTo>
                    <a:pt x="0" y="536"/>
                    <a:pt x="158" y="694"/>
                    <a:pt x="347" y="694"/>
                  </a:cubicBezTo>
                  <a:lnTo>
                    <a:pt x="1071" y="694"/>
                  </a:lnTo>
                  <a:cubicBezTo>
                    <a:pt x="1260" y="694"/>
                    <a:pt x="1418" y="536"/>
                    <a:pt x="1418" y="347"/>
                  </a:cubicBezTo>
                  <a:cubicBezTo>
                    <a:pt x="1418" y="158"/>
                    <a:pt x="1260" y="0"/>
                    <a:pt x="107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9999;p82">
              <a:extLst>
                <a:ext uri="{FF2B5EF4-FFF2-40B4-BE49-F238E27FC236}">
                  <a16:creationId xmlns:a16="http://schemas.microsoft.com/office/drawing/2014/main" id="{EE9B12AB-88BE-4A9D-9FDC-0D94953FE02C}"/>
                </a:ext>
              </a:extLst>
            </p:cNvPr>
            <p:cNvSpPr/>
            <p:nvPr/>
          </p:nvSpPr>
          <p:spPr>
            <a:xfrm>
              <a:off x="3633550" y="2075775"/>
              <a:ext cx="35475" cy="17350"/>
            </a:xfrm>
            <a:custGeom>
              <a:avLst/>
              <a:gdLst/>
              <a:ahLst/>
              <a:cxnLst/>
              <a:rect l="l" t="t" r="r" b="b"/>
              <a:pathLst>
                <a:path w="1419" h="694" extrusionOk="0">
                  <a:moveTo>
                    <a:pt x="379" y="0"/>
                  </a:moveTo>
                  <a:cubicBezTo>
                    <a:pt x="158" y="0"/>
                    <a:pt x="1" y="158"/>
                    <a:pt x="1" y="347"/>
                  </a:cubicBezTo>
                  <a:cubicBezTo>
                    <a:pt x="1" y="536"/>
                    <a:pt x="158" y="694"/>
                    <a:pt x="379" y="694"/>
                  </a:cubicBezTo>
                  <a:lnTo>
                    <a:pt x="1072" y="694"/>
                  </a:lnTo>
                  <a:cubicBezTo>
                    <a:pt x="1261" y="694"/>
                    <a:pt x="1419" y="536"/>
                    <a:pt x="1419" y="347"/>
                  </a:cubicBezTo>
                  <a:cubicBezTo>
                    <a:pt x="1419" y="158"/>
                    <a:pt x="1261" y="0"/>
                    <a:pt x="107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52" name="Google Shape;813;p64">
            <a:extLst>
              <a:ext uri="{FF2B5EF4-FFF2-40B4-BE49-F238E27FC236}">
                <a16:creationId xmlns:a16="http://schemas.microsoft.com/office/drawing/2014/main" id="{CDEBC0C4-08CC-46E5-AA32-3F016DF4EB93}"/>
              </a:ext>
            </a:extLst>
          </p:cNvPr>
          <p:cNvSpPr txBox="1">
            <a:spLocks/>
          </p:cNvSpPr>
          <p:nvPr/>
        </p:nvSpPr>
        <p:spPr>
          <a:xfrm>
            <a:off x="3852521" y="1694754"/>
            <a:ext cx="1278294" cy="687984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400" dirty="0" err="1">
                <a:solidFill>
                  <a:schemeClr val="dk1"/>
                </a:solidFill>
              </a:rPr>
              <a:t>Establecemos</a:t>
            </a:r>
            <a:r>
              <a:rPr lang="en-US" sz="1400" dirty="0">
                <a:solidFill>
                  <a:schemeClr val="dk1"/>
                </a:solidFill>
              </a:rPr>
              <a:t> </a:t>
            </a:r>
            <a:r>
              <a:rPr lang="en-US" sz="1400" dirty="0" err="1">
                <a:solidFill>
                  <a:schemeClr val="dk1"/>
                </a:solidFill>
              </a:rPr>
              <a:t>objetivos</a:t>
            </a:r>
            <a:endParaRPr lang="en-US" sz="1400" dirty="0">
              <a:solidFill>
                <a:schemeClr val="dk1"/>
              </a:solidFill>
            </a:endParaRPr>
          </a:p>
        </p:txBody>
      </p:sp>
      <p:sp>
        <p:nvSpPr>
          <p:cNvPr id="54" name="Google Shape;813;p64">
            <a:extLst>
              <a:ext uri="{FF2B5EF4-FFF2-40B4-BE49-F238E27FC236}">
                <a16:creationId xmlns:a16="http://schemas.microsoft.com/office/drawing/2014/main" id="{FBC6EF0E-E88D-4484-A1DC-D5BC84FD7788}"/>
              </a:ext>
            </a:extLst>
          </p:cNvPr>
          <p:cNvSpPr txBox="1">
            <a:spLocks/>
          </p:cNvSpPr>
          <p:nvPr/>
        </p:nvSpPr>
        <p:spPr>
          <a:xfrm>
            <a:off x="8212739" y="1576442"/>
            <a:ext cx="1444636" cy="61657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400" dirty="0" err="1">
                <a:solidFill>
                  <a:schemeClr val="dk1"/>
                </a:solidFill>
              </a:rPr>
              <a:t>Proponemos</a:t>
            </a:r>
            <a:r>
              <a:rPr lang="en-US" sz="1400" dirty="0">
                <a:solidFill>
                  <a:schemeClr val="dk1"/>
                </a:solidFill>
              </a:rPr>
              <a:t> una </a:t>
            </a:r>
            <a:r>
              <a:rPr lang="en-US" sz="1400" dirty="0" err="1">
                <a:solidFill>
                  <a:schemeClr val="dk1"/>
                </a:solidFill>
              </a:rPr>
              <a:t>metodología</a:t>
            </a:r>
            <a:endParaRPr lang="en-US" sz="1400" dirty="0">
              <a:solidFill>
                <a:schemeClr val="dk1"/>
              </a:solidFill>
            </a:endParaRPr>
          </a:p>
        </p:txBody>
      </p:sp>
      <p:sp>
        <p:nvSpPr>
          <p:cNvPr id="55" name="Google Shape;813;p64">
            <a:extLst>
              <a:ext uri="{FF2B5EF4-FFF2-40B4-BE49-F238E27FC236}">
                <a16:creationId xmlns:a16="http://schemas.microsoft.com/office/drawing/2014/main" id="{46259652-1FCF-48CD-97E8-37BF6011ED17}"/>
              </a:ext>
            </a:extLst>
          </p:cNvPr>
          <p:cNvSpPr txBox="1">
            <a:spLocks/>
          </p:cNvSpPr>
          <p:nvPr/>
        </p:nvSpPr>
        <p:spPr>
          <a:xfrm>
            <a:off x="1550113" y="4450799"/>
            <a:ext cx="1278294" cy="61657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400" dirty="0" err="1">
                <a:solidFill>
                  <a:schemeClr val="dk1"/>
                </a:solidFill>
              </a:rPr>
              <a:t>Identificamos</a:t>
            </a:r>
            <a:r>
              <a:rPr lang="en-US" sz="1400" dirty="0">
                <a:solidFill>
                  <a:schemeClr val="dk1"/>
                </a:solidFill>
              </a:rPr>
              <a:t> insights</a:t>
            </a:r>
          </a:p>
        </p:txBody>
      </p:sp>
      <p:sp>
        <p:nvSpPr>
          <p:cNvPr id="56" name="Google Shape;813;p64">
            <a:extLst>
              <a:ext uri="{FF2B5EF4-FFF2-40B4-BE49-F238E27FC236}">
                <a16:creationId xmlns:a16="http://schemas.microsoft.com/office/drawing/2014/main" id="{E2E55306-B02D-4AF4-853B-49CF20B4E624}"/>
              </a:ext>
            </a:extLst>
          </p:cNvPr>
          <p:cNvSpPr txBox="1">
            <a:spLocks/>
          </p:cNvSpPr>
          <p:nvPr/>
        </p:nvSpPr>
        <p:spPr>
          <a:xfrm>
            <a:off x="5820970" y="4302088"/>
            <a:ext cx="1278294" cy="61657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400" dirty="0">
                <a:solidFill>
                  <a:schemeClr val="dk1"/>
                </a:solidFill>
              </a:rPr>
              <a:t>Feedback para</a:t>
            </a:r>
          </a:p>
          <a:p>
            <a:pPr marL="0" indent="0" algn="ctr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400" dirty="0" err="1">
                <a:solidFill>
                  <a:schemeClr val="dk1"/>
                </a:solidFill>
              </a:rPr>
              <a:t>Involucrar</a:t>
            </a:r>
            <a:r>
              <a:rPr lang="en-US" sz="1400" dirty="0">
                <a:solidFill>
                  <a:schemeClr val="dk1"/>
                </a:solidFill>
              </a:rPr>
              <a:t> a las personas</a:t>
            </a:r>
          </a:p>
        </p:txBody>
      </p:sp>
      <p:sp>
        <p:nvSpPr>
          <p:cNvPr id="3" name="Elipse 2">
            <a:extLst>
              <a:ext uri="{FF2B5EF4-FFF2-40B4-BE49-F238E27FC236}">
                <a16:creationId xmlns:a16="http://schemas.microsoft.com/office/drawing/2014/main" id="{CA588653-E235-4C37-B449-1B32A09E4847}"/>
              </a:ext>
            </a:extLst>
          </p:cNvPr>
          <p:cNvSpPr/>
          <p:nvPr/>
        </p:nvSpPr>
        <p:spPr>
          <a:xfrm>
            <a:off x="2673307" y="970294"/>
            <a:ext cx="429109" cy="39600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2400" b="1" dirty="0"/>
              <a:t>1</a:t>
            </a:r>
            <a:endParaRPr lang="es-PE" b="1" dirty="0"/>
          </a:p>
        </p:txBody>
      </p:sp>
      <p:sp>
        <p:nvSpPr>
          <p:cNvPr id="59" name="Elipse 58">
            <a:extLst>
              <a:ext uri="{FF2B5EF4-FFF2-40B4-BE49-F238E27FC236}">
                <a16:creationId xmlns:a16="http://schemas.microsoft.com/office/drawing/2014/main" id="{2081DDA0-73AB-4C4B-8FA6-EFDCB877630B}"/>
              </a:ext>
            </a:extLst>
          </p:cNvPr>
          <p:cNvSpPr/>
          <p:nvPr/>
        </p:nvSpPr>
        <p:spPr>
          <a:xfrm>
            <a:off x="6941037" y="1004260"/>
            <a:ext cx="429109" cy="39600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 dirty="0"/>
              <a:t>2</a:t>
            </a:r>
            <a:endParaRPr lang="es-PE" b="1" dirty="0"/>
          </a:p>
        </p:txBody>
      </p:sp>
      <p:sp>
        <p:nvSpPr>
          <p:cNvPr id="60" name="Google Shape;813;p64">
            <a:extLst>
              <a:ext uri="{FF2B5EF4-FFF2-40B4-BE49-F238E27FC236}">
                <a16:creationId xmlns:a16="http://schemas.microsoft.com/office/drawing/2014/main" id="{66EFA0ED-4BAF-4CB0-B749-35BB74EF1B9F}"/>
              </a:ext>
            </a:extLst>
          </p:cNvPr>
          <p:cNvSpPr txBox="1">
            <a:spLocks/>
          </p:cNvSpPr>
          <p:nvPr/>
        </p:nvSpPr>
        <p:spPr>
          <a:xfrm>
            <a:off x="9936536" y="4252024"/>
            <a:ext cx="1489244" cy="680102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400" dirty="0" err="1">
                <a:solidFill>
                  <a:schemeClr val="dk1"/>
                </a:solidFill>
              </a:rPr>
              <a:t>Lanzamiento</a:t>
            </a:r>
            <a:r>
              <a:rPr lang="en-US" sz="1400" dirty="0">
                <a:solidFill>
                  <a:schemeClr val="dk1"/>
                </a:solidFill>
              </a:rPr>
              <a:t> de la </a:t>
            </a:r>
            <a:r>
              <a:rPr lang="en-US" sz="1400" dirty="0" err="1">
                <a:solidFill>
                  <a:schemeClr val="dk1"/>
                </a:solidFill>
              </a:rPr>
              <a:t>solución</a:t>
            </a:r>
            <a:endParaRPr lang="en-US" sz="1400" dirty="0">
              <a:solidFill>
                <a:schemeClr val="dk1"/>
              </a:solidFill>
            </a:endParaRPr>
          </a:p>
        </p:txBody>
      </p:sp>
      <p:sp>
        <p:nvSpPr>
          <p:cNvPr id="61" name="Elipse 60">
            <a:extLst>
              <a:ext uri="{FF2B5EF4-FFF2-40B4-BE49-F238E27FC236}">
                <a16:creationId xmlns:a16="http://schemas.microsoft.com/office/drawing/2014/main" id="{31E8738D-17E2-41C8-BD71-F2798B997259}"/>
              </a:ext>
            </a:extLst>
          </p:cNvPr>
          <p:cNvSpPr/>
          <p:nvPr/>
        </p:nvSpPr>
        <p:spPr>
          <a:xfrm>
            <a:off x="8709441" y="3739427"/>
            <a:ext cx="429109" cy="39600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 dirty="0"/>
              <a:t>5</a:t>
            </a:r>
            <a:endParaRPr lang="es-PE" b="1" dirty="0"/>
          </a:p>
        </p:txBody>
      </p:sp>
      <p:sp>
        <p:nvSpPr>
          <p:cNvPr id="62" name="Elipse 61">
            <a:extLst>
              <a:ext uri="{FF2B5EF4-FFF2-40B4-BE49-F238E27FC236}">
                <a16:creationId xmlns:a16="http://schemas.microsoft.com/office/drawing/2014/main" id="{4507A182-5AEC-408C-A4FC-5B51CEFA4ED0}"/>
              </a:ext>
            </a:extLst>
          </p:cNvPr>
          <p:cNvSpPr/>
          <p:nvPr/>
        </p:nvSpPr>
        <p:spPr>
          <a:xfrm>
            <a:off x="4671606" y="3721541"/>
            <a:ext cx="429109" cy="39600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 dirty="0"/>
              <a:t>4</a:t>
            </a:r>
            <a:endParaRPr lang="es-PE" b="1" dirty="0"/>
          </a:p>
        </p:txBody>
      </p:sp>
      <p:sp>
        <p:nvSpPr>
          <p:cNvPr id="63" name="Elipse 62">
            <a:extLst>
              <a:ext uri="{FF2B5EF4-FFF2-40B4-BE49-F238E27FC236}">
                <a16:creationId xmlns:a16="http://schemas.microsoft.com/office/drawing/2014/main" id="{3216A326-78D6-4D7D-889F-D08C4CB60EB3}"/>
              </a:ext>
            </a:extLst>
          </p:cNvPr>
          <p:cNvSpPr/>
          <p:nvPr/>
        </p:nvSpPr>
        <p:spPr>
          <a:xfrm>
            <a:off x="394855" y="3739428"/>
            <a:ext cx="429109" cy="39600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 dirty="0"/>
              <a:t>3</a:t>
            </a:r>
            <a:endParaRPr lang="es-PE" b="1" dirty="0"/>
          </a:p>
        </p:txBody>
      </p:sp>
      <p:grpSp>
        <p:nvGrpSpPr>
          <p:cNvPr id="64" name="Google Shape;11131;p86">
            <a:extLst>
              <a:ext uri="{FF2B5EF4-FFF2-40B4-BE49-F238E27FC236}">
                <a16:creationId xmlns:a16="http://schemas.microsoft.com/office/drawing/2014/main" id="{2B7981EA-754A-42A2-AE10-549B44F49218}"/>
              </a:ext>
            </a:extLst>
          </p:cNvPr>
          <p:cNvGrpSpPr/>
          <p:nvPr/>
        </p:nvGrpSpPr>
        <p:grpSpPr>
          <a:xfrm>
            <a:off x="854754" y="4302087"/>
            <a:ext cx="660600" cy="616575"/>
            <a:chOff x="-5635200" y="2037975"/>
            <a:chExt cx="293025" cy="291450"/>
          </a:xfrm>
          <a:solidFill>
            <a:srgbClr val="0D5592"/>
          </a:solidFill>
        </p:grpSpPr>
        <p:sp>
          <p:nvSpPr>
            <p:cNvPr id="65" name="Google Shape;11132;p86">
              <a:extLst>
                <a:ext uri="{FF2B5EF4-FFF2-40B4-BE49-F238E27FC236}">
                  <a16:creationId xmlns:a16="http://schemas.microsoft.com/office/drawing/2014/main" id="{BE7EEFA3-F339-4379-B756-CEF88DA27A21}"/>
                </a:ext>
              </a:extLst>
            </p:cNvPr>
            <p:cNvSpPr/>
            <p:nvPr/>
          </p:nvSpPr>
          <p:spPr>
            <a:xfrm>
              <a:off x="-5635200" y="2037975"/>
              <a:ext cx="293025" cy="291450"/>
            </a:xfrm>
            <a:custGeom>
              <a:avLst/>
              <a:gdLst/>
              <a:ahLst/>
              <a:cxnLst/>
              <a:rect l="l" t="t" r="r" b="b"/>
              <a:pathLst>
                <a:path w="11721" h="11658" extrusionOk="0">
                  <a:moveTo>
                    <a:pt x="2395" y="725"/>
                  </a:moveTo>
                  <a:cubicBezTo>
                    <a:pt x="2930" y="725"/>
                    <a:pt x="3403" y="1197"/>
                    <a:pt x="3403" y="1733"/>
                  </a:cubicBezTo>
                  <a:cubicBezTo>
                    <a:pt x="3403" y="2300"/>
                    <a:pt x="2930" y="2773"/>
                    <a:pt x="2395" y="2773"/>
                  </a:cubicBezTo>
                  <a:cubicBezTo>
                    <a:pt x="1828" y="2773"/>
                    <a:pt x="1355" y="2300"/>
                    <a:pt x="1355" y="1733"/>
                  </a:cubicBezTo>
                  <a:cubicBezTo>
                    <a:pt x="1355" y="1197"/>
                    <a:pt x="1828" y="725"/>
                    <a:pt x="2395" y="725"/>
                  </a:cubicBezTo>
                  <a:close/>
                  <a:moveTo>
                    <a:pt x="10303" y="725"/>
                  </a:moveTo>
                  <a:lnTo>
                    <a:pt x="10303" y="6585"/>
                  </a:lnTo>
                  <a:lnTo>
                    <a:pt x="10334" y="6585"/>
                  </a:lnTo>
                  <a:cubicBezTo>
                    <a:pt x="10334" y="6774"/>
                    <a:pt x="10177" y="6931"/>
                    <a:pt x="9988" y="6931"/>
                  </a:cubicBezTo>
                  <a:lnTo>
                    <a:pt x="4789" y="6931"/>
                  </a:lnTo>
                  <a:lnTo>
                    <a:pt x="4789" y="5167"/>
                  </a:lnTo>
                  <a:cubicBezTo>
                    <a:pt x="4789" y="4253"/>
                    <a:pt x="4285" y="3434"/>
                    <a:pt x="3498" y="3025"/>
                  </a:cubicBezTo>
                  <a:cubicBezTo>
                    <a:pt x="3844" y="2710"/>
                    <a:pt x="4096" y="2237"/>
                    <a:pt x="4096" y="1733"/>
                  </a:cubicBezTo>
                  <a:cubicBezTo>
                    <a:pt x="4096" y="1355"/>
                    <a:pt x="3970" y="977"/>
                    <a:pt x="3718" y="725"/>
                  </a:cubicBezTo>
                  <a:close/>
                  <a:moveTo>
                    <a:pt x="2710" y="3466"/>
                  </a:moveTo>
                  <a:cubicBezTo>
                    <a:pt x="3498" y="3623"/>
                    <a:pt x="4096" y="4316"/>
                    <a:pt x="4096" y="5167"/>
                  </a:cubicBezTo>
                  <a:lnTo>
                    <a:pt x="4096" y="7246"/>
                  </a:lnTo>
                  <a:cubicBezTo>
                    <a:pt x="4128" y="7435"/>
                    <a:pt x="3970" y="7593"/>
                    <a:pt x="3750" y="7593"/>
                  </a:cubicBezTo>
                  <a:cubicBezTo>
                    <a:pt x="3561" y="7593"/>
                    <a:pt x="3403" y="7750"/>
                    <a:pt x="3403" y="7971"/>
                  </a:cubicBezTo>
                  <a:lnTo>
                    <a:pt x="3403" y="10712"/>
                  </a:lnTo>
                  <a:cubicBezTo>
                    <a:pt x="3403" y="10901"/>
                    <a:pt x="3246" y="11058"/>
                    <a:pt x="3056" y="11058"/>
                  </a:cubicBezTo>
                  <a:lnTo>
                    <a:pt x="1670" y="11058"/>
                  </a:lnTo>
                  <a:cubicBezTo>
                    <a:pt x="1481" y="11058"/>
                    <a:pt x="1324" y="10901"/>
                    <a:pt x="1324" y="10712"/>
                  </a:cubicBezTo>
                  <a:lnTo>
                    <a:pt x="1324" y="7971"/>
                  </a:lnTo>
                  <a:cubicBezTo>
                    <a:pt x="1324" y="7750"/>
                    <a:pt x="1166" y="7593"/>
                    <a:pt x="977" y="7593"/>
                  </a:cubicBezTo>
                  <a:cubicBezTo>
                    <a:pt x="788" y="7593"/>
                    <a:pt x="631" y="7435"/>
                    <a:pt x="631" y="7246"/>
                  </a:cubicBezTo>
                  <a:lnTo>
                    <a:pt x="631" y="5167"/>
                  </a:lnTo>
                  <a:cubicBezTo>
                    <a:pt x="631" y="4316"/>
                    <a:pt x="1198" y="3623"/>
                    <a:pt x="1985" y="3466"/>
                  </a:cubicBezTo>
                  <a:lnTo>
                    <a:pt x="1985" y="5829"/>
                  </a:lnTo>
                  <a:cubicBezTo>
                    <a:pt x="1985" y="6018"/>
                    <a:pt x="2143" y="6175"/>
                    <a:pt x="2363" y="6175"/>
                  </a:cubicBezTo>
                  <a:cubicBezTo>
                    <a:pt x="2552" y="6175"/>
                    <a:pt x="2710" y="6018"/>
                    <a:pt x="2710" y="5829"/>
                  </a:cubicBezTo>
                  <a:lnTo>
                    <a:pt x="2710" y="3466"/>
                  </a:lnTo>
                  <a:close/>
                  <a:moveTo>
                    <a:pt x="2395" y="0"/>
                  </a:moveTo>
                  <a:cubicBezTo>
                    <a:pt x="1450" y="0"/>
                    <a:pt x="694" y="756"/>
                    <a:pt x="694" y="1702"/>
                  </a:cubicBezTo>
                  <a:cubicBezTo>
                    <a:pt x="694" y="2206"/>
                    <a:pt x="946" y="2678"/>
                    <a:pt x="1292" y="2993"/>
                  </a:cubicBezTo>
                  <a:cubicBezTo>
                    <a:pt x="536" y="3403"/>
                    <a:pt x="1" y="4222"/>
                    <a:pt x="1" y="5136"/>
                  </a:cubicBezTo>
                  <a:lnTo>
                    <a:pt x="1" y="7215"/>
                  </a:lnTo>
                  <a:cubicBezTo>
                    <a:pt x="1" y="7656"/>
                    <a:pt x="253" y="8034"/>
                    <a:pt x="662" y="8192"/>
                  </a:cubicBezTo>
                  <a:lnTo>
                    <a:pt x="662" y="10649"/>
                  </a:lnTo>
                  <a:cubicBezTo>
                    <a:pt x="662" y="11184"/>
                    <a:pt x="1135" y="11657"/>
                    <a:pt x="1670" y="11657"/>
                  </a:cubicBezTo>
                  <a:lnTo>
                    <a:pt x="3056" y="11657"/>
                  </a:lnTo>
                  <a:cubicBezTo>
                    <a:pt x="3624" y="11657"/>
                    <a:pt x="4096" y="11184"/>
                    <a:pt x="4096" y="10649"/>
                  </a:cubicBezTo>
                  <a:lnTo>
                    <a:pt x="4096" y="8192"/>
                  </a:lnTo>
                  <a:cubicBezTo>
                    <a:pt x="4348" y="8065"/>
                    <a:pt x="4600" y="7876"/>
                    <a:pt x="4726" y="7561"/>
                  </a:cubicBezTo>
                  <a:lnTo>
                    <a:pt x="9988" y="7561"/>
                  </a:lnTo>
                  <a:cubicBezTo>
                    <a:pt x="10555" y="7561"/>
                    <a:pt x="11027" y="7089"/>
                    <a:pt x="11027" y="6553"/>
                  </a:cubicBezTo>
                  <a:lnTo>
                    <a:pt x="11027" y="662"/>
                  </a:lnTo>
                  <a:lnTo>
                    <a:pt x="11374" y="662"/>
                  </a:lnTo>
                  <a:cubicBezTo>
                    <a:pt x="11563" y="662"/>
                    <a:pt x="11720" y="504"/>
                    <a:pt x="11720" y="315"/>
                  </a:cubicBezTo>
                  <a:cubicBezTo>
                    <a:pt x="11720" y="158"/>
                    <a:pt x="11563" y="0"/>
                    <a:pt x="113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" name="Google Shape;11133;p86">
              <a:extLst>
                <a:ext uri="{FF2B5EF4-FFF2-40B4-BE49-F238E27FC236}">
                  <a16:creationId xmlns:a16="http://schemas.microsoft.com/office/drawing/2014/main" id="{824AFC7D-C467-4D74-85EC-2868A2053601}"/>
                </a:ext>
              </a:extLst>
            </p:cNvPr>
            <p:cNvSpPr/>
            <p:nvPr/>
          </p:nvSpPr>
          <p:spPr>
            <a:xfrm>
              <a:off x="-5496575" y="2072625"/>
              <a:ext cx="102425" cy="102425"/>
            </a:xfrm>
            <a:custGeom>
              <a:avLst/>
              <a:gdLst/>
              <a:ahLst/>
              <a:cxnLst/>
              <a:rect l="l" t="t" r="r" b="b"/>
              <a:pathLst>
                <a:path w="4097" h="4097" extrusionOk="0">
                  <a:moveTo>
                    <a:pt x="2395" y="725"/>
                  </a:moveTo>
                  <a:cubicBezTo>
                    <a:pt x="2867" y="851"/>
                    <a:pt x="3245" y="1229"/>
                    <a:pt x="3371" y="1733"/>
                  </a:cubicBezTo>
                  <a:lnTo>
                    <a:pt x="2395" y="1733"/>
                  </a:lnTo>
                  <a:lnTo>
                    <a:pt x="2395" y="725"/>
                  </a:lnTo>
                  <a:close/>
                  <a:moveTo>
                    <a:pt x="1733" y="757"/>
                  </a:moveTo>
                  <a:lnTo>
                    <a:pt x="1733" y="2080"/>
                  </a:lnTo>
                  <a:cubicBezTo>
                    <a:pt x="1733" y="2269"/>
                    <a:pt x="1891" y="2426"/>
                    <a:pt x="2080" y="2426"/>
                  </a:cubicBezTo>
                  <a:lnTo>
                    <a:pt x="3403" y="2426"/>
                  </a:lnTo>
                  <a:cubicBezTo>
                    <a:pt x="3245" y="3025"/>
                    <a:pt x="2741" y="3466"/>
                    <a:pt x="2080" y="3466"/>
                  </a:cubicBezTo>
                  <a:cubicBezTo>
                    <a:pt x="1324" y="3466"/>
                    <a:pt x="693" y="2836"/>
                    <a:pt x="693" y="2080"/>
                  </a:cubicBezTo>
                  <a:cubicBezTo>
                    <a:pt x="693" y="1418"/>
                    <a:pt x="1135" y="851"/>
                    <a:pt x="1733" y="757"/>
                  </a:cubicBezTo>
                  <a:close/>
                  <a:moveTo>
                    <a:pt x="2048" y="0"/>
                  </a:moveTo>
                  <a:cubicBezTo>
                    <a:pt x="883" y="0"/>
                    <a:pt x="0" y="914"/>
                    <a:pt x="0" y="2048"/>
                  </a:cubicBezTo>
                  <a:cubicBezTo>
                    <a:pt x="0" y="3182"/>
                    <a:pt x="946" y="4096"/>
                    <a:pt x="2048" y="4096"/>
                  </a:cubicBezTo>
                  <a:cubicBezTo>
                    <a:pt x="3182" y="4096"/>
                    <a:pt x="4096" y="3182"/>
                    <a:pt x="4096" y="2048"/>
                  </a:cubicBezTo>
                  <a:cubicBezTo>
                    <a:pt x="4096" y="914"/>
                    <a:pt x="3182" y="0"/>
                    <a:pt x="204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70" name="Imagen 69">
            <a:extLst>
              <a:ext uri="{FF2B5EF4-FFF2-40B4-BE49-F238E27FC236}">
                <a16:creationId xmlns:a16="http://schemas.microsoft.com/office/drawing/2014/main" id="{9406329B-FB27-4EC6-8DEF-9B3D310BD89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63431" y="1645384"/>
            <a:ext cx="889090" cy="885138"/>
          </a:xfrm>
          <a:prstGeom prst="rect">
            <a:avLst/>
          </a:prstGeom>
        </p:spPr>
      </p:pic>
      <p:pic>
        <p:nvPicPr>
          <p:cNvPr id="72" name="Imagen 71">
            <a:extLst>
              <a:ext uri="{FF2B5EF4-FFF2-40B4-BE49-F238E27FC236}">
                <a16:creationId xmlns:a16="http://schemas.microsoft.com/office/drawing/2014/main" id="{4D428A0C-6A19-42C8-9B67-DD0E1A9D4F1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644655" y="4405133"/>
            <a:ext cx="826274" cy="787761"/>
          </a:xfrm>
          <a:prstGeom prst="rect">
            <a:avLst/>
          </a:prstGeom>
        </p:spPr>
      </p:pic>
      <p:sp>
        <p:nvSpPr>
          <p:cNvPr id="73" name="Retângulo 50">
            <a:extLst>
              <a:ext uri="{FF2B5EF4-FFF2-40B4-BE49-F238E27FC236}">
                <a16:creationId xmlns:a16="http://schemas.microsoft.com/office/drawing/2014/main" id="{7258D47F-FEEA-4647-B2BA-814156FDC3CF}"/>
              </a:ext>
            </a:extLst>
          </p:cNvPr>
          <p:cNvSpPr/>
          <p:nvPr/>
        </p:nvSpPr>
        <p:spPr>
          <a:xfrm>
            <a:off x="2628478" y="945870"/>
            <a:ext cx="2993499" cy="2243127"/>
          </a:xfrm>
          <a:prstGeom prst="rect">
            <a:avLst/>
          </a:prstGeom>
          <a:noFill/>
          <a:ln w="25400" cap="flat" cmpd="sng" algn="ctr">
            <a:solidFill>
              <a:schemeClr val="tx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76" name="Retângulo 50">
            <a:extLst>
              <a:ext uri="{FF2B5EF4-FFF2-40B4-BE49-F238E27FC236}">
                <a16:creationId xmlns:a16="http://schemas.microsoft.com/office/drawing/2014/main" id="{0628C3C6-620C-4FC7-8952-FE130DD0E313}"/>
              </a:ext>
            </a:extLst>
          </p:cNvPr>
          <p:cNvSpPr/>
          <p:nvPr/>
        </p:nvSpPr>
        <p:spPr>
          <a:xfrm>
            <a:off x="6853090" y="939559"/>
            <a:ext cx="2993499" cy="2243127"/>
          </a:xfrm>
          <a:prstGeom prst="rect">
            <a:avLst/>
          </a:prstGeom>
          <a:noFill/>
          <a:ln w="25400" cap="flat" cmpd="sng" algn="ctr">
            <a:solidFill>
              <a:schemeClr val="tx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77" name="Retângulo 50">
            <a:extLst>
              <a:ext uri="{FF2B5EF4-FFF2-40B4-BE49-F238E27FC236}">
                <a16:creationId xmlns:a16="http://schemas.microsoft.com/office/drawing/2014/main" id="{5E54428D-0BC7-45FF-B94A-5A7A3407C1E7}"/>
              </a:ext>
            </a:extLst>
          </p:cNvPr>
          <p:cNvSpPr/>
          <p:nvPr/>
        </p:nvSpPr>
        <p:spPr>
          <a:xfrm>
            <a:off x="337584" y="3677449"/>
            <a:ext cx="2993499" cy="2243127"/>
          </a:xfrm>
          <a:prstGeom prst="rect">
            <a:avLst/>
          </a:prstGeom>
          <a:noFill/>
          <a:ln w="25400" cap="flat" cmpd="sng" algn="ctr">
            <a:solidFill>
              <a:schemeClr val="tx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78" name="Retângulo 50">
            <a:extLst>
              <a:ext uri="{FF2B5EF4-FFF2-40B4-BE49-F238E27FC236}">
                <a16:creationId xmlns:a16="http://schemas.microsoft.com/office/drawing/2014/main" id="{A02C5788-0D97-4431-83EF-0D49B28392B8}"/>
              </a:ext>
            </a:extLst>
          </p:cNvPr>
          <p:cNvSpPr/>
          <p:nvPr/>
        </p:nvSpPr>
        <p:spPr>
          <a:xfrm>
            <a:off x="4607570" y="3675314"/>
            <a:ext cx="2993499" cy="2243127"/>
          </a:xfrm>
          <a:prstGeom prst="rect">
            <a:avLst/>
          </a:prstGeom>
          <a:noFill/>
          <a:ln w="25400" cap="flat" cmpd="sng" algn="ctr">
            <a:solidFill>
              <a:schemeClr val="tx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79" name="Retângulo 50">
            <a:extLst>
              <a:ext uri="{FF2B5EF4-FFF2-40B4-BE49-F238E27FC236}">
                <a16:creationId xmlns:a16="http://schemas.microsoft.com/office/drawing/2014/main" id="{1937DCAE-2E78-4CD8-8247-DF72B1EF4B5E}"/>
              </a:ext>
            </a:extLst>
          </p:cNvPr>
          <p:cNvSpPr/>
          <p:nvPr/>
        </p:nvSpPr>
        <p:spPr>
          <a:xfrm>
            <a:off x="8631892" y="3675313"/>
            <a:ext cx="2993499" cy="2243127"/>
          </a:xfrm>
          <a:prstGeom prst="rect">
            <a:avLst/>
          </a:prstGeom>
          <a:noFill/>
          <a:ln w="25400" cap="flat" cmpd="sng" algn="ctr">
            <a:solidFill>
              <a:schemeClr val="tx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11718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92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6&quot;&gt;&lt;elem m_fUsage=&quot;5.72133839095484830750E+00&quot;&gt;&lt;m_msothmcolidx val=&quot;0&quot;/&gt;&lt;m_rgb r=&quot;91&quot; g=&quot;66&quot; b=&quot;FF&quot;/&gt;&lt;/elem&gt;&lt;elem m_fUsage=&quot;3.56694859925571527981E+00&quot;&gt;&lt;m_msothmcolidx val=&quot;0&quot;/&gt;&lt;m_rgb r=&quot;3C&quot; g=&quot;3C&quot; b=&quot;3C&quot;/&gt;&lt;/elem&gt;&lt;elem m_fUsage=&quot;6.55100818892266789639E-01&quot;&gt;&lt;m_msothmcolidx val=&quot;0&quot;/&gt;&lt;m_rgb r=&quot;FD&quot; g=&quot;4F&quot; b=&quot;00&quot;/&gt;&lt;/elem&gt;&lt;elem m_fUsage=&quot;2.51614889992834607491E-02&quot;&gt;&lt;m_msothmcolidx val=&quot;0&quot;/&gt;&lt;m_rgb r=&quot;FF&quot; g=&quot;50&quot; b=&quot;00&quot;/&gt;&lt;/elem&gt;&lt;elem m_fUsage=&quot;3.75710212613636698742E-03&quot;&gt;&lt;m_msothmcolidx val=&quot;0&quot;/&gt;&lt;m_rgb r=&quot;C4&quot; g=&quot;BD&quot; b=&quot;97&quot;/&gt;&lt;/elem&gt;&lt;elem m_fUsage=&quot;3.04325272217045731185E-03&quot;&gt;&lt;m_msothmcolidx val=&quot;0&quot;/&gt;&lt;m_rgb r=&quot;50&quot; g=&quot;50&quot; b=&quot;5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DvqssWTQOOgFbzDfez4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pqk35sTTyj7pzcBoBM6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F1phI6TrKwtx9J9YwiQ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F1phI6TrKwtx9J9YwiQ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F1phI6TrKwtx9J9YwiQ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F1phI6TrKwtx9J9YwiQ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F1phI6TrKwtx9J9YwiQ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F1phI6TrKwtx9J9YwiQ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F1phI6TrKwtx9J9YwiQ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F1phI6TrKwtx9J9YwiQ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F1phI6TrKwtx9J9YwiQ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F1phI6TrKwtx9J9YwiQ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F1phI6TrKwtx9J9YwiQ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F1phI6TrKwtx9J9YwiQ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F1phI6TrKwtx9J9YwiQ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F1phI6TrKwtx9J9YwiQ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gQts3RSPeALuVFth73k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gQts3RSPeALuVFth73k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gQts3RSPeALuVFth73k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vTB0WlQueo_r.g7u24h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vTB0WlQueo_r.g7u24h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60aq7VR1OXMAi3vhFib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60aq7VR1OXMAi3vhFib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60aq7VR1OXMAi3vhFib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60aq7VR1OXMAi3vhFib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60aq7VR1OXMAi3vhFib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60aq7VR1OXMAi3vhFib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DvqssWTQOOgFbzDfez4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DvqssWTQOOgFbzDfez4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gQts3RSPeALuVFth73k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gQts3RSPeALuVFth73k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gQts3RSPeALuVFth73k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vTB0WlQueo_r.g7u24h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vTB0WlQueo_r.g7u24h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60aq7VR1OXMAi3vhFib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60aq7VR1OXMAi3vhFib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60aq7VR1OXMAi3vhFib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60aq7VR1OXMAi3vhFib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60aq7VR1OXMAi3vhFib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60aq7VR1OXMAi3vhFib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irm Format - template_Blue">
  <a:themeElements>
    <a:clrScheme name="NEXA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8D8D8"/>
      </a:accent1>
      <a:accent2>
        <a:srgbClr val="ADADAD"/>
      </a:accent2>
      <a:accent3>
        <a:srgbClr val="FF5000"/>
      </a:accent3>
      <a:accent4>
        <a:srgbClr val="B55F00"/>
      </a:accent4>
      <a:accent5>
        <a:srgbClr val="F27F00"/>
      </a:accent5>
      <a:accent6>
        <a:srgbClr val="808080"/>
      </a:accent6>
      <a:hlink>
        <a:srgbClr val="FF5000"/>
      </a:hlink>
      <a:folHlink>
        <a:srgbClr val="B55F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C56773C1-6908-4CBF-B5D9-C915CDB687C7}" vid="{2E542057-194C-4F25-B22F-33A34DA172FE}"/>
    </a:ext>
  </a:extLst>
</a:theme>
</file>

<file path=ppt/theme/theme2.xml><?xml version="1.0" encoding="utf-8"?>
<a:theme xmlns:a="http://schemas.openxmlformats.org/drawingml/2006/main" name="2_Tema do Office">
  <a:themeElements>
    <a:clrScheme name="Personalizada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5000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Firm Format - template_Blue">
  <a:themeElements>
    <a:clrScheme name="NEXA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8D8D8"/>
      </a:accent1>
      <a:accent2>
        <a:srgbClr val="ADADAD"/>
      </a:accent2>
      <a:accent3>
        <a:srgbClr val="FF5000"/>
      </a:accent3>
      <a:accent4>
        <a:srgbClr val="B55F00"/>
      </a:accent4>
      <a:accent5>
        <a:srgbClr val="F27F00"/>
      </a:accent5>
      <a:accent6>
        <a:srgbClr val="808080"/>
      </a:accent6>
      <a:hlink>
        <a:srgbClr val="FF5000"/>
      </a:hlink>
      <a:folHlink>
        <a:srgbClr val="B55F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C56773C1-6908-4CBF-B5D9-C915CDB687C7}" vid="{2E542057-194C-4F25-B22F-33A34DA172FE}"/>
    </a:ext>
  </a:extLst>
</a:theme>
</file>

<file path=ppt/theme/theme4.xml><?xml version="1.0" encoding="utf-8"?>
<a:theme xmlns:a="http://schemas.openxmlformats.org/drawingml/2006/main" name="5_Office Theme">
  <a:themeElements>
    <a:clrScheme name="NEXA">
      <a:dk1>
        <a:srgbClr val="000000"/>
      </a:dk1>
      <a:lt1>
        <a:srgbClr val="FFFFFF"/>
      </a:lt1>
      <a:dk2>
        <a:srgbClr val="3B3B3B"/>
      </a:dk2>
      <a:lt2>
        <a:srgbClr val="DADADA"/>
      </a:lt2>
      <a:accent1>
        <a:srgbClr val="FF5000"/>
      </a:accent1>
      <a:accent2>
        <a:srgbClr val="D73B00"/>
      </a:accent2>
      <a:accent3>
        <a:srgbClr val="DADADA"/>
      </a:accent3>
      <a:accent4>
        <a:srgbClr val="B8B8B8"/>
      </a:accent4>
      <a:accent5>
        <a:srgbClr val="3B3B3B"/>
      </a:accent5>
      <a:accent6>
        <a:srgbClr val="1D1D1D"/>
      </a:accent6>
      <a:hlink>
        <a:srgbClr val="FF5000"/>
      </a:hlink>
      <a:folHlink>
        <a:srgbClr val="1D1D1D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2832</TotalTime>
  <Words>1938</Words>
  <Application>Microsoft Office PowerPoint</Application>
  <PresentationFormat>Panorámica</PresentationFormat>
  <Paragraphs>234</Paragraphs>
  <Slides>20</Slides>
  <Notes>16</Notes>
  <HiddenSlides>0</HiddenSlides>
  <MMClips>0</MMClips>
  <ScaleCrop>false</ScaleCrop>
  <HeadingPairs>
    <vt:vector size="8" baseType="variant">
      <vt:variant>
        <vt:lpstr>Fuentes usadas</vt:lpstr>
      </vt:variant>
      <vt:variant>
        <vt:i4>12</vt:i4>
      </vt:variant>
      <vt:variant>
        <vt:lpstr>Tema</vt:lpstr>
      </vt:variant>
      <vt:variant>
        <vt:i4>4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0</vt:i4>
      </vt:variant>
    </vt:vector>
  </HeadingPairs>
  <TitlesOfParts>
    <vt:vector size="37" baseType="lpstr">
      <vt:lpstr>等线</vt:lpstr>
      <vt:lpstr>ＭＳ Ｐゴシック</vt:lpstr>
      <vt:lpstr>宋体</vt:lpstr>
      <vt:lpstr>Arial</vt:lpstr>
      <vt:lpstr>Calibri</vt:lpstr>
      <vt:lpstr>Calibri Light</vt:lpstr>
      <vt:lpstr>Cambria Math</vt:lpstr>
      <vt:lpstr>Segoe UI</vt:lpstr>
      <vt:lpstr>Trebuchet MS</vt:lpstr>
      <vt:lpstr>Verdana</vt:lpstr>
      <vt:lpstr>Verdana Regular</vt:lpstr>
      <vt:lpstr>Wingdings</vt:lpstr>
      <vt:lpstr>Firm Format - template_Blue</vt:lpstr>
      <vt:lpstr>2_Tema do Office</vt:lpstr>
      <vt:lpstr>1_Firm Format - template_Blue</vt:lpstr>
      <vt:lpstr>5_Office Theme</vt:lpstr>
      <vt:lpstr>Slide do think-cell</vt:lpstr>
      <vt:lpstr>EXAMEN CIENCIA DE DATOS L3/L4</vt:lpstr>
      <vt:lpstr>Presentación de PowerPoint</vt:lpstr>
      <vt:lpstr>¿Qué pruebas identificarías para asegurar la calidad de estos datos?</vt:lpstr>
      <vt:lpstr>Identifica los delitos que van a la alza y a la baja en la CDMX</vt:lpstr>
      <vt:lpstr>¿Cuál es la alcaldía que más delitos tiene y cuál es la que menos?¿Por qué crees que sea esto?</vt:lpstr>
      <vt:lpstr>¿Cuál es la alcaldía que más delitos tiene y cuál es la que menos?¿Por qué crees que sea esto?</vt:lpstr>
      <vt:lpstr>Diseña un indicador que mida el nivel de “inseguridad”</vt:lpstr>
      <vt:lpstr>Presentación de PowerPoint</vt:lpstr>
      <vt:lpstr>Ruta para desarrollar una solución al problema de La Michoacana</vt:lpstr>
      <vt:lpstr>a. ¿de qué tipo de problema se trata?</vt:lpstr>
      <vt:lpstr>Establecemos Objetivos</vt:lpstr>
      <vt:lpstr>Metodología propuesta</vt:lpstr>
      <vt:lpstr>b. ¿Cómo te imaginas una solución functional al problema? ¿De qué partes está conformada? ¿Cómo interactúan esas partes? ¿Qué supuestos y riesgos ves en tu planteamiento?</vt:lpstr>
      <vt:lpstr>Diagrama de la solución propuesta</vt:lpstr>
      <vt:lpstr>c. ¿Qué métodos o algoritmos utilizarías durante el Desarrollo de esa solución?</vt:lpstr>
      <vt:lpstr>d. ¿Qué métricas evaluarías durante el Desarrollo de la solución?</vt:lpstr>
      <vt:lpstr>e. ¿Cómo te imaginas el despliegue y operación en producción de la solución?</vt:lpstr>
      <vt:lpstr>Nuestra meta es implementar soluciones para digitalizar el control de costos</vt:lpstr>
      <vt:lpstr>e. ¿Cómo evaluarías si la solución tiene un impacto positivo y fue exitosa?</vt:lpstr>
      <vt:lpstr>¿Cómo podemos medir el impacto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Fabiana Maurano</dc:creator>
  <cp:lastModifiedBy>HSANCHEZA</cp:lastModifiedBy>
  <cp:revision>613</cp:revision>
  <dcterms:created xsi:type="dcterms:W3CDTF">2020-11-12T14:26:13Z</dcterms:created>
  <dcterms:modified xsi:type="dcterms:W3CDTF">2021-08-05T06:17:31Z</dcterms:modified>
</cp:coreProperties>
</file>